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5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1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2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3.xml" ContentType="application/vnd.openxmlformats-officedocument.themeOverr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4.xml" ContentType="application/vnd.openxmlformats-officedocument.themeOverr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10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48" r:id="rId1"/>
    <p:sldMasterId id="2147483675" r:id="rId2"/>
    <p:sldMasterId id="2147483682" r:id="rId3"/>
  </p:sldMasterIdLst>
  <p:notesMasterIdLst>
    <p:notesMasterId r:id="rId21"/>
  </p:notesMasterIdLst>
  <p:sldIdLst>
    <p:sldId id="1355" r:id="rId4"/>
    <p:sldId id="1356" r:id="rId5"/>
    <p:sldId id="1357" r:id="rId6"/>
    <p:sldId id="1358" r:id="rId7"/>
    <p:sldId id="1360" r:id="rId8"/>
    <p:sldId id="1361" r:id="rId9"/>
    <p:sldId id="1362" r:id="rId10"/>
    <p:sldId id="1363" r:id="rId11"/>
    <p:sldId id="1364" r:id="rId12"/>
    <p:sldId id="1365" r:id="rId13"/>
    <p:sldId id="1366" r:id="rId14"/>
    <p:sldId id="1367" r:id="rId15"/>
    <p:sldId id="1368" r:id="rId16"/>
    <p:sldId id="1369" r:id="rId17"/>
    <p:sldId id="1370" r:id="rId18"/>
    <p:sldId id="1371" r:id="rId19"/>
    <p:sldId id="1373" r:id="rId20"/>
  </p:sldIdLst>
  <p:sldSz cx="12192000" cy="6858000"/>
  <p:notesSz cx="6858000" cy="9144000"/>
  <p:custDataLst>
    <p:tags r:id="rId22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24" userDrawn="1">
          <p15:clr>
            <a:srgbClr val="A4A3A4"/>
          </p15:clr>
        </p15:guide>
        <p15:guide id="2" pos="41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31145"/>
    <a:srgbClr val="305983"/>
    <a:srgbClr val="FF5050"/>
    <a:srgbClr val="00CD61"/>
    <a:srgbClr val="FA9106"/>
    <a:srgbClr val="E6E6E6"/>
    <a:srgbClr val="BFBFBF"/>
    <a:srgbClr val="00FF00"/>
    <a:srgbClr val="E7F6EA"/>
    <a:srgbClr val="92D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5501" autoAdjust="0"/>
  </p:normalViewPr>
  <p:slideViewPr>
    <p:cSldViewPr snapToGrid="0">
      <p:cViewPr varScale="1">
        <p:scale>
          <a:sx n="105" d="100"/>
          <a:sy n="105" d="100"/>
        </p:scale>
        <p:origin x="138" y="162"/>
      </p:cViewPr>
      <p:guideLst>
        <p:guide orient="horz" pos="4224"/>
        <p:guide pos="41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List_aplikace_Microsoft_Excel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List_aplikace_Microsoft_Excel4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List_aplikace_Microsoft_Excel5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package" Target="../embeddings/List_aplikace_Microsoft_Excel6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251231934911546E-2"/>
          <c:y val="0.13807894736842105"/>
          <c:w val="0.91692139603581668"/>
          <c:h val="0.6577448830409357"/>
        </c:manualLayout>
      </c:layout>
      <c:barChart>
        <c:barDir val="col"/>
        <c:grouping val="clustered"/>
        <c:varyColors val="0"/>
        <c:ser>
          <c:idx val="0"/>
          <c:order val="0"/>
          <c:tx>
            <c:v>incidence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20</c:f>
              <c:numCache>
                <c:formatCode>m/d/yyyy</c:formatCode>
                <c:ptCount val="119"/>
                <c:pt idx="0">
                  <c:v>44164</c:v>
                </c:pt>
                <c:pt idx="1">
                  <c:v>44165</c:v>
                </c:pt>
                <c:pt idx="2">
                  <c:v>44166</c:v>
                </c:pt>
                <c:pt idx="3">
                  <c:v>44167</c:v>
                </c:pt>
                <c:pt idx="4">
                  <c:v>44168</c:v>
                </c:pt>
                <c:pt idx="5">
                  <c:v>44169</c:v>
                </c:pt>
                <c:pt idx="6">
                  <c:v>44170</c:v>
                </c:pt>
                <c:pt idx="7">
                  <c:v>44171</c:v>
                </c:pt>
                <c:pt idx="8">
                  <c:v>44172</c:v>
                </c:pt>
                <c:pt idx="9">
                  <c:v>44173</c:v>
                </c:pt>
                <c:pt idx="10">
                  <c:v>44174</c:v>
                </c:pt>
                <c:pt idx="11">
                  <c:v>44175</c:v>
                </c:pt>
                <c:pt idx="12">
                  <c:v>44176</c:v>
                </c:pt>
                <c:pt idx="13">
                  <c:v>44177</c:v>
                </c:pt>
                <c:pt idx="14">
                  <c:v>44178</c:v>
                </c:pt>
                <c:pt idx="15">
                  <c:v>44179</c:v>
                </c:pt>
                <c:pt idx="16">
                  <c:v>44180</c:v>
                </c:pt>
                <c:pt idx="17">
                  <c:v>44181</c:v>
                </c:pt>
                <c:pt idx="18">
                  <c:v>44182</c:v>
                </c:pt>
                <c:pt idx="19">
                  <c:v>44183</c:v>
                </c:pt>
                <c:pt idx="20">
                  <c:v>44184</c:v>
                </c:pt>
                <c:pt idx="21">
                  <c:v>44185</c:v>
                </c:pt>
                <c:pt idx="22">
                  <c:v>44186</c:v>
                </c:pt>
                <c:pt idx="23">
                  <c:v>44187</c:v>
                </c:pt>
                <c:pt idx="24">
                  <c:v>44188</c:v>
                </c:pt>
                <c:pt idx="25">
                  <c:v>44189</c:v>
                </c:pt>
                <c:pt idx="26">
                  <c:v>44190</c:v>
                </c:pt>
                <c:pt idx="27">
                  <c:v>44191</c:v>
                </c:pt>
                <c:pt idx="28">
                  <c:v>44192</c:v>
                </c:pt>
                <c:pt idx="29">
                  <c:v>44193</c:v>
                </c:pt>
                <c:pt idx="30">
                  <c:v>44194</c:v>
                </c:pt>
                <c:pt idx="31">
                  <c:v>44195</c:v>
                </c:pt>
                <c:pt idx="32">
                  <c:v>44196</c:v>
                </c:pt>
                <c:pt idx="33">
                  <c:v>44197</c:v>
                </c:pt>
                <c:pt idx="34">
                  <c:v>44198</c:v>
                </c:pt>
                <c:pt idx="35">
                  <c:v>44199</c:v>
                </c:pt>
                <c:pt idx="36">
                  <c:v>44200</c:v>
                </c:pt>
                <c:pt idx="37">
                  <c:v>44201</c:v>
                </c:pt>
                <c:pt idx="38">
                  <c:v>44202</c:v>
                </c:pt>
                <c:pt idx="39">
                  <c:v>44203</c:v>
                </c:pt>
                <c:pt idx="40">
                  <c:v>44204</c:v>
                </c:pt>
                <c:pt idx="41">
                  <c:v>44205</c:v>
                </c:pt>
                <c:pt idx="42">
                  <c:v>44206</c:v>
                </c:pt>
                <c:pt idx="43">
                  <c:v>44207</c:v>
                </c:pt>
                <c:pt idx="44">
                  <c:v>44208</c:v>
                </c:pt>
                <c:pt idx="45">
                  <c:v>44209</c:v>
                </c:pt>
                <c:pt idx="46">
                  <c:v>44210</c:v>
                </c:pt>
                <c:pt idx="47">
                  <c:v>44211</c:v>
                </c:pt>
                <c:pt idx="48">
                  <c:v>44212</c:v>
                </c:pt>
                <c:pt idx="49">
                  <c:v>44213</c:v>
                </c:pt>
                <c:pt idx="50">
                  <c:v>44214</c:v>
                </c:pt>
                <c:pt idx="51">
                  <c:v>44215</c:v>
                </c:pt>
                <c:pt idx="52">
                  <c:v>44216</c:v>
                </c:pt>
                <c:pt idx="53">
                  <c:v>44217</c:v>
                </c:pt>
                <c:pt idx="54">
                  <c:v>44218</c:v>
                </c:pt>
                <c:pt idx="55">
                  <c:v>44219</c:v>
                </c:pt>
                <c:pt idx="56">
                  <c:v>44220</c:v>
                </c:pt>
                <c:pt idx="57">
                  <c:v>44221</c:v>
                </c:pt>
                <c:pt idx="58">
                  <c:v>44222</c:v>
                </c:pt>
                <c:pt idx="59">
                  <c:v>44223</c:v>
                </c:pt>
                <c:pt idx="60">
                  <c:v>44224</c:v>
                </c:pt>
                <c:pt idx="61">
                  <c:v>44225</c:v>
                </c:pt>
                <c:pt idx="62">
                  <c:v>44226</c:v>
                </c:pt>
                <c:pt idx="63">
                  <c:v>44227</c:v>
                </c:pt>
                <c:pt idx="64">
                  <c:v>44228</c:v>
                </c:pt>
                <c:pt idx="65">
                  <c:v>44229</c:v>
                </c:pt>
                <c:pt idx="66">
                  <c:v>44230</c:v>
                </c:pt>
                <c:pt idx="67">
                  <c:v>44231</c:v>
                </c:pt>
                <c:pt idx="68">
                  <c:v>44232</c:v>
                </c:pt>
                <c:pt idx="69">
                  <c:v>44233</c:v>
                </c:pt>
                <c:pt idx="70">
                  <c:v>44234</c:v>
                </c:pt>
                <c:pt idx="71">
                  <c:v>44235</c:v>
                </c:pt>
                <c:pt idx="72">
                  <c:v>44236</c:v>
                </c:pt>
                <c:pt idx="73">
                  <c:v>44237</c:v>
                </c:pt>
                <c:pt idx="74">
                  <c:v>44238</c:v>
                </c:pt>
                <c:pt idx="75">
                  <c:v>44239</c:v>
                </c:pt>
                <c:pt idx="76">
                  <c:v>44240</c:v>
                </c:pt>
                <c:pt idx="77">
                  <c:v>44241</c:v>
                </c:pt>
                <c:pt idx="78">
                  <c:v>44242</c:v>
                </c:pt>
                <c:pt idx="79">
                  <c:v>44243</c:v>
                </c:pt>
                <c:pt idx="80">
                  <c:v>44244</c:v>
                </c:pt>
                <c:pt idx="81">
                  <c:v>44245</c:v>
                </c:pt>
                <c:pt idx="82">
                  <c:v>44246</c:v>
                </c:pt>
                <c:pt idx="83">
                  <c:v>44247</c:v>
                </c:pt>
                <c:pt idx="84">
                  <c:v>44248</c:v>
                </c:pt>
                <c:pt idx="85">
                  <c:v>44249</c:v>
                </c:pt>
                <c:pt idx="86">
                  <c:v>44250</c:v>
                </c:pt>
                <c:pt idx="87">
                  <c:v>44251</c:v>
                </c:pt>
                <c:pt idx="88">
                  <c:v>44252</c:v>
                </c:pt>
                <c:pt idx="89">
                  <c:v>44253</c:v>
                </c:pt>
                <c:pt idx="90">
                  <c:v>44254</c:v>
                </c:pt>
                <c:pt idx="91">
                  <c:v>44255</c:v>
                </c:pt>
                <c:pt idx="92">
                  <c:v>44256</c:v>
                </c:pt>
                <c:pt idx="93">
                  <c:v>44257</c:v>
                </c:pt>
                <c:pt idx="94">
                  <c:v>44258</c:v>
                </c:pt>
                <c:pt idx="95">
                  <c:v>44259</c:v>
                </c:pt>
                <c:pt idx="96">
                  <c:v>44260</c:v>
                </c:pt>
                <c:pt idx="97">
                  <c:v>44261</c:v>
                </c:pt>
                <c:pt idx="98">
                  <c:v>44262</c:v>
                </c:pt>
                <c:pt idx="99">
                  <c:v>44263</c:v>
                </c:pt>
                <c:pt idx="100">
                  <c:v>44264</c:v>
                </c:pt>
                <c:pt idx="101">
                  <c:v>44265</c:v>
                </c:pt>
                <c:pt idx="102">
                  <c:v>44266</c:v>
                </c:pt>
                <c:pt idx="103">
                  <c:v>44267</c:v>
                </c:pt>
                <c:pt idx="104">
                  <c:v>44268</c:v>
                </c:pt>
                <c:pt idx="105">
                  <c:v>44269</c:v>
                </c:pt>
                <c:pt idx="106">
                  <c:v>44270</c:v>
                </c:pt>
                <c:pt idx="107">
                  <c:v>44271</c:v>
                </c:pt>
                <c:pt idx="108">
                  <c:v>44272</c:v>
                </c:pt>
                <c:pt idx="109">
                  <c:v>44273</c:v>
                </c:pt>
                <c:pt idx="110">
                  <c:v>44274</c:v>
                </c:pt>
                <c:pt idx="111">
                  <c:v>44275</c:v>
                </c:pt>
                <c:pt idx="112">
                  <c:v>44276</c:v>
                </c:pt>
                <c:pt idx="113">
                  <c:v>44277</c:v>
                </c:pt>
                <c:pt idx="114">
                  <c:v>44278</c:v>
                </c:pt>
                <c:pt idx="115">
                  <c:v>44279</c:v>
                </c:pt>
                <c:pt idx="116">
                  <c:v>44280</c:v>
                </c:pt>
                <c:pt idx="117">
                  <c:v>44281</c:v>
                </c:pt>
                <c:pt idx="118">
                  <c:v>44282</c:v>
                </c:pt>
              </c:numCache>
            </c:numRef>
          </c:cat>
          <c:val>
            <c:numRef>
              <c:f>Sheet1!$B$2:$B$120</c:f>
              <c:numCache>
                <c:formatCode>General</c:formatCode>
                <c:ptCount val="119"/>
                <c:pt idx="0">
                  <c:v>1074</c:v>
                </c:pt>
                <c:pt idx="1">
                  <c:v>3572</c:v>
                </c:pt>
                <c:pt idx="2">
                  <c:v>5180</c:v>
                </c:pt>
                <c:pt idx="3">
                  <c:v>4561</c:v>
                </c:pt>
                <c:pt idx="4">
                  <c:v>4624</c:v>
                </c:pt>
                <c:pt idx="5">
                  <c:v>4747</c:v>
                </c:pt>
                <c:pt idx="6">
                  <c:v>3312</c:v>
                </c:pt>
                <c:pt idx="7">
                  <c:v>1112</c:v>
                </c:pt>
                <c:pt idx="8">
                  <c:v>4251</c:v>
                </c:pt>
                <c:pt idx="9">
                  <c:v>5855</c:v>
                </c:pt>
                <c:pt idx="10">
                  <c:v>6414</c:v>
                </c:pt>
                <c:pt idx="11">
                  <c:v>5872</c:v>
                </c:pt>
                <c:pt idx="12">
                  <c:v>6209</c:v>
                </c:pt>
                <c:pt idx="13">
                  <c:v>3655</c:v>
                </c:pt>
                <c:pt idx="14">
                  <c:v>1998</c:v>
                </c:pt>
                <c:pt idx="15">
                  <c:v>5176</c:v>
                </c:pt>
                <c:pt idx="16">
                  <c:v>7908</c:v>
                </c:pt>
                <c:pt idx="17">
                  <c:v>8258</c:v>
                </c:pt>
                <c:pt idx="18">
                  <c:v>7614</c:v>
                </c:pt>
                <c:pt idx="19">
                  <c:v>8836</c:v>
                </c:pt>
                <c:pt idx="20">
                  <c:v>5326</c:v>
                </c:pt>
                <c:pt idx="21">
                  <c:v>3403</c:v>
                </c:pt>
                <c:pt idx="22">
                  <c:v>7950</c:v>
                </c:pt>
                <c:pt idx="23">
                  <c:v>10911</c:v>
                </c:pt>
                <c:pt idx="24">
                  <c:v>14138</c:v>
                </c:pt>
                <c:pt idx="25">
                  <c:v>4373</c:v>
                </c:pt>
                <c:pt idx="26">
                  <c:v>2671</c:v>
                </c:pt>
                <c:pt idx="27">
                  <c:v>3031</c:v>
                </c:pt>
                <c:pt idx="28">
                  <c:v>3781</c:v>
                </c:pt>
                <c:pt idx="29">
                  <c:v>10935</c:v>
                </c:pt>
                <c:pt idx="30">
                  <c:v>16473</c:v>
                </c:pt>
                <c:pt idx="31">
                  <c:v>17059</c:v>
                </c:pt>
                <c:pt idx="32">
                  <c:v>13307</c:v>
                </c:pt>
                <c:pt idx="33">
                  <c:v>3446</c:v>
                </c:pt>
                <c:pt idx="34">
                  <c:v>4985</c:v>
                </c:pt>
                <c:pt idx="35">
                  <c:v>6267</c:v>
                </c:pt>
                <c:pt idx="36">
                  <c:v>12954</c:v>
                </c:pt>
                <c:pt idx="37">
                  <c:v>17399</c:v>
                </c:pt>
                <c:pt idx="38">
                  <c:v>17769</c:v>
                </c:pt>
                <c:pt idx="39">
                  <c:v>14882</c:v>
                </c:pt>
                <c:pt idx="40">
                  <c:v>13099</c:v>
                </c:pt>
                <c:pt idx="41">
                  <c:v>8437</c:v>
                </c:pt>
                <c:pt idx="42">
                  <c:v>4311</c:v>
                </c:pt>
                <c:pt idx="43">
                  <c:v>9383</c:v>
                </c:pt>
                <c:pt idx="44">
                  <c:v>10808</c:v>
                </c:pt>
                <c:pt idx="45">
                  <c:v>10917</c:v>
                </c:pt>
                <c:pt idx="46">
                  <c:v>8087</c:v>
                </c:pt>
                <c:pt idx="47">
                  <c:v>9300</c:v>
                </c:pt>
                <c:pt idx="48">
                  <c:v>5241</c:v>
                </c:pt>
                <c:pt idx="49">
                  <c:v>2641</c:v>
                </c:pt>
                <c:pt idx="50">
                  <c:v>7667</c:v>
                </c:pt>
                <c:pt idx="51">
                  <c:v>9609</c:v>
                </c:pt>
                <c:pt idx="52">
                  <c:v>8215</c:v>
                </c:pt>
                <c:pt idx="53">
                  <c:v>7532</c:v>
                </c:pt>
                <c:pt idx="54">
                  <c:v>8466</c:v>
                </c:pt>
                <c:pt idx="55">
                  <c:v>4239</c:v>
                </c:pt>
                <c:pt idx="56">
                  <c:v>2394</c:v>
                </c:pt>
                <c:pt idx="57">
                  <c:v>6974</c:v>
                </c:pt>
                <c:pt idx="58">
                  <c:v>9194</c:v>
                </c:pt>
                <c:pt idx="59">
                  <c:v>8503</c:v>
                </c:pt>
                <c:pt idx="60">
                  <c:v>8010</c:v>
                </c:pt>
                <c:pt idx="61">
                  <c:v>8052</c:v>
                </c:pt>
                <c:pt idx="62">
                  <c:v>4055</c:v>
                </c:pt>
                <c:pt idx="63">
                  <c:v>2573</c:v>
                </c:pt>
                <c:pt idx="64">
                  <c:v>7217</c:v>
                </c:pt>
                <c:pt idx="65">
                  <c:v>9148</c:v>
                </c:pt>
                <c:pt idx="66">
                  <c:v>9666</c:v>
                </c:pt>
                <c:pt idx="67">
                  <c:v>8106</c:v>
                </c:pt>
                <c:pt idx="68">
                  <c:v>8621</c:v>
                </c:pt>
                <c:pt idx="69">
                  <c:v>4820</c:v>
                </c:pt>
                <c:pt idx="70">
                  <c:v>2451</c:v>
                </c:pt>
                <c:pt idx="71">
                  <c:v>7779</c:v>
                </c:pt>
                <c:pt idx="72">
                  <c:v>10283</c:v>
                </c:pt>
                <c:pt idx="73">
                  <c:v>9538</c:v>
                </c:pt>
                <c:pt idx="74">
                  <c:v>9017</c:v>
                </c:pt>
                <c:pt idx="75">
                  <c:v>8827</c:v>
                </c:pt>
                <c:pt idx="76">
                  <c:v>5141</c:v>
                </c:pt>
                <c:pt idx="77">
                  <c:v>2881</c:v>
                </c:pt>
                <c:pt idx="78">
                  <c:v>8905</c:v>
                </c:pt>
                <c:pt idx="79">
                  <c:v>12609</c:v>
                </c:pt>
                <c:pt idx="80">
                  <c:v>10938</c:v>
                </c:pt>
                <c:pt idx="81">
                  <c:v>11702</c:v>
                </c:pt>
                <c:pt idx="82">
                  <c:v>11287</c:v>
                </c:pt>
                <c:pt idx="83">
                  <c:v>6775</c:v>
                </c:pt>
                <c:pt idx="84">
                  <c:v>4068</c:v>
                </c:pt>
                <c:pt idx="85">
                  <c:v>11408</c:v>
                </c:pt>
                <c:pt idx="86">
                  <c:v>15841</c:v>
                </c:pt>
                <c:pt idx="87">
                  <c:v>13795</c:v>
                </c:pt>
                <c:pt idx="88">
                  <c:v>14588</c:v>
                </c:pt>
                <c:pt idx="89">
                  <c:v>14776</c:v>
                </c:pt>
                <c:pt idx="90">
                  <c:v>7823</c:v>
                </c:pt>
                <c:pt idx="91">
                  <c:v>4587</c:v>
                </c:pt>
                <c:pt idx="92">
                  <c:v>12321</c:v>
                </c:pt>
                <c:pt idx="93">
                  <c:v>16775</c:v>
                </c:pt>
                <c:pt idx="94">
                  <c:v>15239</c:v>
                </c:pt>
                <c:pt idx="95">
                  <c:v>14645</c:v>
                </c:pt>
                <c:pt idx="96">
                  <c:v>13168</c:v>
                </c:pt>
                <c:pt idx="97">
                  <c:v>9123</c:v>
                </c:pt>
                <c:pt idx="98">
                  <c:v>3981</c:v>
                </c:pt>
                <c:pt idx="99">
                  <c:v>10653</c:v>
                </c:pt>
                <c:pt idx="100">
                  <c:v>15355</c:v>
                </c:pt>
                <c:pt idx="101">
                  <c:v>14532</c:v>
                </c:pt>
                <c:pt idx="102">
                  <c:v>11240</c:v>
                </c:pt>
                <c:pt idx="103">
                  <c:v>14956</c:v>
                </c:pt>
                <c:pt idx="104">
                  <c:v>6955</c:v>
                </c:pt>
                <c:pt idx="105">
                  <c:v>3330</c:v>
                </c:pt>
                <c:pt idx="106">
                  <c:v>10620</c:v>
                </c:pt>
                <c:pt idx="107">
                  <c:v>14025</c:v>
                </c:pt>
                <c:pt idx="108">
                  <c:v>12020</c:v>
                </c:pt>
                <c:pt idx="109">
                  <c:v>10651</c:v>
                </c:pt>
                <c:pt idx="110">
                  <c:v>9706</c:v>
                </c:pt>
                <c:pt idx="111">
                  <c:v>5463</c:v>
                </c:pt>
                <c:pt idx="112">
                  <c:v>2388</c:v>
                </c:pt>
                <c:pt idx="113">
                  <c:v>8240</c:v>
                </c:pt>
                <c:pt idx="114">
                  <c:v>10966</c:v>
                </c:pt>
                <c:pt idx="115">
                  <c:v>8841</c:v>
                </c:pt>
                <c:pt idx="116">
                  <c:v>7912</c:v>
                </c:pt>
                <c:pt idx="117">
                  <c:v>7698</c:v>
                </c:pt>
                <c:pt idx="118">
                  <c:v>39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FD6-40BF-820C-488D15CC75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524901576"/>
        <c:axId val="524901968"/>
      </c:barChart>
      <c:dateAx>
        <c:axId val="52490157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4901968"/>
        <c:crosses val="autoZero"/>
        <c:auto val="1"/>
        <c:lblOffset val="100"/>
        <c:baseTimeUnit val="days"/>
        <c:majorUnit val="2"/>
        <c:majorTimeUnit val="days"/>
      </c:dateAx>
      <c:valAx>
        <c:axId val="524901968"/>
        <c:scaling>
          <c:orientation val="minMax"/>
          <c:max val="28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4901576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648004434438759E-2"/>
          <c:y val="3.26071322589827E-2"/>
          <c:w val="0.93069323165507978"/>
          <c:h val="0.82729398410055177"/>
        </c:manualLayout>
      </c:layout>
      <c:lineChart>
        <c:grouping val="standard"/>
        <c:varyColors val="0"/>
        <c:ser>
          <c:idx val="0"/>
          <c:order val="0"/>
          <c:tx>
            <c:v>% pozitivních</c:v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9050">
                <a:solidFill>
                  <a:schemeClr val="tx1"/>
                </a:solidFill>
              </a:ln>
              <a:effectLst/>
            </c:spPr>
          </c:marker>
          <c:trendline>
            <c:spPr>
              <a:ln w="25400" cap="rnd">
                <a:solidFill>
                  <a:srgbClr val="FF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03</c:f>
              <c:numCache>
                <c:formatCode>m/d/yyyy</c:formatCode>
                <c:ptCount val="50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</c:numCache>
            </c:numRef>
          </c:cat>
          <c:val>
            <c:numRef>
              <c:f>Sheet1!$B$2:$B$503</c:f>
              <c:numCache>
                <c:formatCode>General</c:formatCode>
                <c:ptCount val="502"/>
                <c:pt idx="0">
                  <c:v>1.4010507880910683E-2</c:v>
                </c:pt>
                <c:pt idx="1">
                  <c:v>1.7601760176017601E-2</c:v>
                </c:pt>
                <c:pt idx="2">
                  <c:v>1.9123505976095617E-2</c:v>
                </c:pt>
                <c:pt idx="3">
                  <c:v>2.253349573690621E-2</c:v>
                </c:pt>
                <c:pt idx="4">
                  <c:v>1.7948717948717947E-2</c:v>
                </c:pt>
                <c:pt idx="5">
                  <c:v>3.0395136778115502E-2</c:v>
                </c:pt>
                <c:pt idx="6">
                  <c:v>1.8935978358881875E-2</c:v>
                </c:pt>
                <c:pt idx="7">
                  <c:v>2.2526934378060724E-2</c:v>
                </c:pt>
                <c:pt idx="8">
                  <c:v>2.321083172147002E-2</c:v>
                </c:pt>
                <c:pt idx="9">
                  <c:v>4.7745358090185673E-2</c:v>
                </c:pt>
                <c:pt idx="10">
                  <c:v>4.2933810375670838E-2</c:v>
                </c:pt>
                <c:pt idx="11">
                  <c:v>5.5032585083272988E-2</c:v>
                </c:pt>
                <c:pt idx="12">
                  <c:v>5.0161812297734629E-2</c:v>
                </c:pt>
                <c:pt idx="13">
                  <c:v>2.7576197387518143E-2</c:v>
                </c:pt>
                <c:pt idx="14">
                  <c:v>3.6299765807962528E-2</c:v>
                </c:pt>
                <c:pt idx="15">
                  <c:v>3.8596491228070177E-2</c:v>
                </c:pt>
                <c:pt idx="16">
                  <c:v>7.029478458049887E-2</c:v>
                </c:pt>
                <c:pt idx="17">
                  <c:v>4.204929917834703E-2</c:v>
                </c:pt>
                <c:pt idx="18">
                  <c:v>0.1160337552742616</c:v>
                </c:pt>
                <c:pt idx="19">
                  <c:v>6.8043742405832316E-2</c:v>
                </c:pt>
                <c:pt idx="20">
                  <c:v>3.382663847780127E-2</c:v>
                </c:pt>
                <c:pt idx="21">
                  <c:v>3.2967032967032968E-2</c:v>
                </c:pt>
                <c:pt idx="22">
                  <c:v>3.6656389174374783E-2</c:v>
                </c:pt>
                <c:pt idx="23">
                  <c:v>9.0632397700372E-2</c:v>
                </c:pt>
                <c:pt idx="24">
                  <c:v>6.6294919454770757E-2</c:v>
                </c:pt>
                <c:pt idx="25">
                  <c:v>6.2427745664739881E-2</c:v>
                </c:pt>
                <c:pt idx="26">
                  <c:v>6.9285714285714284E-2</c:v>
                </c:pt>
                <c:pt idx="27">
                  <c:v>4.7255369928400952E-2</c:v>
                </c:pt>
                <c:pt idx="28">
                  <c:v>3.5282587389741916E-2</c:v>
                </c:pt>
                <c:pt idx="29">
                  <c:v>9.361022364217253E-2</c:v>
                </c:pt>
                <c:pt idx="30">
                  <c:v>6.6178464876593443E-2</c:v>
                </c:pt>
                <c:pt idx="31">
                  <c:v>8.3185840707964601E-2</c:v>
                </c:pt>
                <c:pt idx="32">
                  <c:v>9.3634928984744875E-2</c:v>
                </c:pt>
                <c:pt idx="33">
                  <c:v>9.1517857142857137E-2</c:v>
                </c:pt>
                <c:pt idx="34">
                  <c:v>5.8731646360512341E-2</c:v>
                </c:pt>
                <c:pt idx="35">
                  <c:v>0.11871859296482412</c:v>
                </c:pt>
                <c:pt idx="36">
                  <c:v>9.9613440380612553E-2</c:v>
                </c:pt>
                <c:pt idx="37">
                  <c:v>6.7360508817577339E-2</c:v>
                </c:pt>
                <c:pt idx="38">
                  <c:v>0.15855394249928836</c:v>
                </c:pt>
                <c:pt idx="39">
                  <c:v>0.119916142557652</c:v>
                </c:pt>
                <c:pt idx="40">
                  <c:v>0.21078838174273859</c:v>
                </c:pt>
                <c:pt idx="41">
                  <c:v>7.5238629983155531E-2</c:v>
                </c:pt>
                <c:pt idx="42">
                  <c:v>0.16617006646802659</c:v>
                </c:pt>
                <c:pt idx="43">
                  <c:v>0.13326551373346898</c:v>
                </c:pt>
                <c:pt idx="44">
                  <c:v>0.14659685863874344</c:v>
                </c:pt>
                <c:pt idx="45">
                  <c:v>0.16776106757042999</c:v>
                </c:pt>
                <c:pt idx="46">
                  <c:v>0.17726861621947543</c:v>
                </c:pt>
                <c:pt idx="47">
                  <c:v>0.18204613841524575</c:v>
                </c:pt>
                <c:pt idx="48">
                  <c:v>0.1204537270435722</c:v>
                </c:pt>
                <c:pt idx="49">
                  <c:v>0.18268538516918648</c:v>
                </c:pt>
                <c:pt idx="50">
                  <c:v>0.20650061826532415</c:v>
                </c:pt>
                <c:pt idx="51">
                  <c:v>0.13725803871380579</c:v>
                </c:pt>
                <c:pt idx="52">
                  <c:v>0.25831343009369834</c:v>
                </c:pt>
                <c:pt idx="53">
                  <c:v>0.15949779121134619</c:v>
                </c:pt>
                <c:pt idx="54">
                  <c:v>0.1798780487804878</c:v>
                </c:pt>
                <c:pt idx="55">
                  <c:v>0.16230741669652454</c:v>
                </c:pt>
                <c:pt idx="56">
                  <c:v>0.22715449973989943</c:v>
                </c:pt>
                <c:pt idx="57">
                  <c:v>0.16466346153846154</c:v>
                </c:pt>
                <c:pt idx="58">
                  <c:v>0.19712402636309168</c:v>
                </c:pt>
                <c:pt idx="59">
                  <c:v>0.15500660003771449</c:v>
                </c:pt>
                <c:pt idx="60">
                  <c:v>0.17071867485973818</c:v>
                </c:pt>
                <c:pt idx="61">
                  <c:v>0.18029350104821804</c:v>
                </c:pt>
                <c:pt idx="62">
                  <c:v>9.726103968697597E-2</c:v>
                </c:pt>
                <c:pt idx="63">
                  <c:v>0.12881296845040963</c:v>
                </c:pt>
                <c:pt idx="64">
                  <c:v>0.21991701244813278</c:v>
                </c:pt>
                <c:pt idx="65">
                  <c:v>0.13411999335216884</c:v>
                </c:pt>
                <c:pt idx="66">
                  <c:v>0.12901035477847564</c:v>
                </c:pt>
                <c:pt idx="67">
                  <c:v>0.12639623750734863</c:v>
                </c:pt>
                <c:pt idx="68">
                  <c:v>0.13788968824940048</c:v>
                </c:pt>
                <c:pt idx="69">
                  <c:v>6.6331658291457291E-2</c:v>
                </c:pt>
                <c:pt idx="70">
                  <c:v>5.1760791200665499E-2</c:v>
                </c:pt>
                <c:pt idx="71">
                  <c:v>3.6165327210103328E-2</c:v>
                </c:pt>
                <c:pt idx="72">
                  <c:v>3.3166061025552286E-2</c:v>
                </c:pt>
                <c:pt idx="73">
                  <c:v>3.1030793009154678E-2</c:v>
                </c:pt>
                <c:pt idx="74">
                  <c:v>7.7975376196990423E-2</c:v>
                </c:pt>
                <c:pt idx="75">
                  <c:v>3.4621769030116198E-2</c:v>
                </c:pt>
                <c:pt idx="76">
                  <c:v>2.0876926003424005E-2</c:v>
                </c:pt>
                <c:pt idx="77">
                  <c:v>4.7305808257522744E-2</c:v>
                </c:pt>
                <c:pt idx="78">
                  <c:v>1.874699567377023E-2</c:v>
                </c:pt>
                <c:pt idx="79">
                  <c:v>3.8849168748384871E-2</c:v>
                </c:pt>
                <c:pt idx="80">
                  <c:v>3.7646450723638869E-2</c:v>
                </c:pt>
                <c:pt idx="81">
                  <c:v>2.1183206106870228E-2</c:v>
                </c:pt>
                <c:pt idx="82">
                  <c:v>2.3376189681081985E-2</c:v>
                </c:pt>
                <c:pt idx="83">
                  <c:v>7.3109544857245254E-3</c:v>
                </c:pt>
                <c:pt idx="84">
                  <c:v>2.5004262090129001E-2</c:v>
                </c:pt>
                <c:pt idx="85">
                  <c:v>2.5471100097965771E-2</c:v>
                </c:pt>
                <c:pt idx="86">
                  <c:v>1.9560878243512974E-2</c:v>
                </c:pt>
                <c:pt idx="87">
                  <c:v>1.9590382902938557E-2</c:v>
                </c:pt>
                <c:pt idx="88">
                  <c:v>1.9823570224997523E-2</c:v>
                </c:pt>
                <c:pt idx="89">
                  <c:v>2.1547933157431837E-2</c:v>
                </c:pt>
                <c:pt idx="90">
                  <c:v>6.9176436321269933E-3</c:v>
                </c:pt>
                <c:pt idx="91">
                  <c:v>1.8011672368685852E-2</c:v>
                </c:pt>
                <c:pt idx="92">
                  <c:v>1.6097728051147391E-2</c:v>
                </c:pt>
                <c:pt idx="93">
                  <c:v>1.8862709873557659E-2</c:v>
                </c:pt>
                <c:pt idx="94">
                  <c:v>2.5726695623120615E-2</c:v>
                </c:pt>
                <c:pt idx="95">
                  <c:v>3.9391056137012367E-2</c:v>
                </c:pt>
                <c:pt idx="96">
                  <c:v>2.2419315102241932E-2</c:v>
                </c:pt>
                <c:pt idx="97">
                  <c:v>1.0431847817749482E-2</c:v>
                </c:pt>
                <c:pt idx="98">
                  <c:v>2.6754447401596861E-2</c:v>
                </c:pt>
                <c:pt idx="99">
                  <c:v>2.7201972720967867E-2</c:v>
                </c:pt>
                <c:pt idx="100">
                  <c:v>2.8786840301576421E-2</c:v>
                </c:pt>
                <c:pt idx="101">
                  <c:v>2.6699759326113116E-2</c:v>
                </c:pt>
                <c:pt idx="102">
                  <c:v>3.5990139687756779E-2</c:v>
                </c:pt>
                <c:pt idx="103">
                  <c:v>3.2812500000000001E-2</c:v>
                </c:pt>
                <c:pt idx="104">
                  <c:v>1.3013993963388343E-2</c:v>
                </c:pt>
                <c:pt idx="105">
                  <c:v>2.8811445822668504E-2</c:v>
                </c:pt>
                <c:pt idx="106">
                  <c:v>2.2551189817376867E-2</c:v>
                </c:pt>
                <c:pt idx="107">
                  <c:v>2.5663848093754636E-2</c:v>
                </c:pt>
                <c:pt idx="108">
                  <c:v>2.1366617304844512E-2</c:v>
                </c:pt>
                <c:pt idx="109">
                  <c:v>3.2303559435862994E-2</c:v>
                </c:pt>
                <c:pt idx="110">
                  <c:v>3.3338767525268993E-2</c:v>
                </c:pt>
                <c:pt idx="111">
                  <c:v>1.7645774186503604E-2</c:v>
                </c:pt>
                <c:pt idx="112">
                  <c:v>2.3139606396063959E-2</c:v>
                </c:pt>
                <c:pt idx="113">
                  <c:v>2.7122386770035763E-2</c:v>
                </c:pt>
                <c:pt idx="114">
                  <c:v>5.4802456262310277E-2</c:v>
                </c:pt>
                <c:pt idx="115">
                  <c:v>4.1054792357492501E-2</c:v>
                </c:pt>
                <c:pt idx="116">
                  <c:v>2.4185869358217482E-2</c:v>
                </c:pt>
                <c:pt idx="117">
                  <c:v>3.9382169632372864E-2</c:v>
                </c:pt>
                <c:pt idx="118">
                  <c:v>2.030966730364055E-2</c:v>
                </c:pt>
                <c:pt idx="119">
                  <c:v>3.9517207403758178E-2</c:v>
                </c:pt>
                <c:pt idx="120">
                  <c:v>3.8895112729309622E-2</c:v>
                </c:pt>
                <c:pt idx="121">
                  <c:v>5.7895922505068712E-2</c:v>
                </c:pt>
                <c:pt idx="122">
                  <c:v>6.8801897983392646E-2</c:v>
                </c:pt>
                <c:pt idx="123">
                  <c:v>2.3804623722302257E-2</c:v>
                </c:pt>
                <c:pt idx="124">
                  <c:v>4.9360951961216398E-2</c:v>
                </c:pt>
                <c:pt idx="125">
                  <c:v>2.1451748587910106E-2</c:v>
                </c:pt>
                <c:pt idx="126">
                  <c:v>3.9087661767289339E-2</c:v>
                </c:pt>
                <c:pt idx="127">
                  <c:v>4.402036504692966E-2</c:v>
                </c:pt>
                <c:pt idx="128">
                  <c:v>3.7157404398223376E-2</c:v>
                </c:pt>
                <c:pt idx="129">
                  <c:v>2.7178910800040871E-2</c:v>
                </c:pt>
                <c:pt idx="130">
                  <c:v>3.937287173666288E-2</c:v>
                </c:pt>
                <c:pt idx="131">
                  <c:v>3.474028698497944E-2</c:v>
                </c:pt>
                <c:pt idx="132">
                  <c:v>1.5954378023343541E-2</c:v>
                </c:pt>
                <c:pt idx="133">
                  <c:v>2.4145150034891837E-2</c:v>
                </c:pt>
                <c:pt idx="134">
                  <c:v>2.7953385634854139E-2</c:v>
                </c:pt>
                <c:pt idx="135">
                  <c:v>2.1522502654578127E-2</c:v>
                </c:pt>
                <c:pt idx="136">
                  <c:v>2.2334347406692885E-2</c:v>
                </c:pt>
                <c:pt idx="137">
                  <c:v>4.114899115396084E-2</c:v>
                </c:pt>
                <c:pt idx="138">
                  <c:v>2.4370335820895522E-2</c:v>
                </c:pt>
                <c:pt idx="139">
                  <c:v>1.3898305084745762E-2</c:v>
                </c:pt>
                <c:pt idx="140">
                  <c:v>2.4560196137468279E-2</c:v>
                </c:pt>
                <c:pt idx="141">
                  <c:v>2.183203270159792E-2</c:v>
                </c:pt>
                <c:pt idx="142">
                  <c:v>2.0886398369842078E-2</c:v>
                </c:pt>
                <c:pt idx="143">
                  <c:v>1.916531004883824E-2</c:v>
                </c:pt>
                <c:pt idx="144">
                  <c:v>2.6420737786640079E-2</c:v>
                </c:pt>
                <c:pt idx="145">
                  <c:v>2.4718862720135796E-2</c:v>
                </c:pt>
                <c:pt idx="146">
                  <c:v>1.2812150577711517E-2</c:v>
                </c:pt>
                <c:pt idx="147">
                  <c:v>2.1520803443328552E-2</c:v>
                </c:pt>
                <c:pt idx="148">
                  <c:v>2.1425158943074493E-2</c:v>
                </c:pt>
                <c:pt idx="149">
                  <c:v>1.7600547403634152E-2</c:v>
                </c:pt>
                <c:pt idx="150">
                  <c:v>1.457958857599361E-2</c:v>
                </c:pt>
                <c:pt idx="151">
                  <c:v>1.869451044141553E-2</c:v>
                </c:pt>
                <c:pt idx="152">
                  <c:v>2.2560754443235402E-2</c:v>
                </c:pt>
                <c:pt idx="153">
                  <c:v>1.0476731909364087E-2</c:v>
                </c:pt>
                <c:pt idx="154">
                  <c:v>2.1348598899361124E-2</c:v>
                </c:pt>
                <c:pt idx="155">
                  <c:v>2.04029584289722E-2</c:v>
                </c:pt>
                <c:pt idx="156">
                  <c:v>1.8026294946934897E-2</c:v>
                </c:pt>
                <c:pt idx="157">
                  <c:v>1.61087560298202E-2</c:v>
                </c:pt>
                <c:pt idx="158">
                  <c:v>1.8111254851228976E-2</c:v>
                </c:pt>
                <c:pt idx="159">
                  <c:v>1.5094584089142264E-2</c:v>
                </c:pt>
                <c:pt idx="160">
                  <c:v>1.0480190622349663E-2</c:v>
                </c:pt>
                <c:pt idx="161">
                  <c:v>1.8951801591015442E-2</c:v>
                </c:pt>
                <c:pt idx="162">
                  <c:v>1.8779342723004695E-2</c:v>
                </c:pt>
                <c:pt idx="163">
                  <c:v>2.0013362487852283E-2</c:v>
                </c:pt>
                <c:pt idx="164">
                  <c:v>1.4024874305371792E-2</c:v>
                </c:pt>
                <c:pt idx="165">
                  <c:v>2.0892989712588822E-2</c:v>
                </c:pt>
                <c:pt idx="166">
                  <c:v>1.5076939018703694E-2</c:v>
                </c:pt>
                <c:pt idx="167">
                  <c:v>1.1345982649374226E-2</c:v>
                </c:pt>
                <c:pt idx="168">
                  <c:v>1.896979776797551E-2</c:v>
                </c:pt>
                <c:pt idx="169">
                  <c:v>1.7241808894979446E-2</c:v>
                </c:pt>
                <c:pt idx="170">
                  <c:v>1.7640996141032095E-2</c:v>
                </c:pt>
                <c:pt idx="171">
                  <c:v>1.4974417784050812E-2</c:v>
                </c:pt>
                <c:pt idx="172">
                  <c:v>2.2133095662507426E-2</c:v>
                </c:pt>
                <c:pt idx="173">
                  <c:v>1.6711567603973732E-2</c:v>
                </c:pt>
                <c:pt idx="174">
                  <c:v>1.1492712845935123E-2</c:v>
                </c:pt>
                <c:pt idx="175">
                  <c:v>1.9655165755990193E-2</c:v>
                </c:pt>
                <c:pt idx="176">
                  <c:v>1.6655867667797385E-2</c:v>
                </c:pt>
                <c:pt idx="177">
                  <c:v>1.8623067596241286E-2</c:v>
                </c:pt>
                <c:pt idx="178">
                  <c:v>1.6261628326242158E-2</c:v>
                </c:pt>
                <c:pt idx="179">
                  <c:v>1.8697341591967068E-2</c:v>
                </c:pt>
                <c:pt idx="180">
                  <c:v>1.681144226449004E-2</c:v>
                </c:pt>
                <c:pt idx="181">
                  <c:v>9.8837649075918417E-3</c:v>
                </c:pt>
                <c:pt idx="182">
                  <c:v>1.6046084230359376E-2</c:v>
                </c:pt>
                <c:pt idx="183">
                  <c:v>1.5573207513363396E-2</c:v>
                </c:pt>
                <c:pt idx="184">
                  <c:v>1.2791601866251945E-2</c:v>
                </c:pt>
                <c:pt idx="185">
                  <c:v>1.0974775127102073E-2</c:v>
                </c:pt>
                <c:pt idx="186">
                  <c:v>2.1391666918451825E-2</c:v>
                </c:pt>
                <c:pt idx="187">
                  <c:v>1.0895207350384902E-2</c:v>
                </c:pt>
                <c:pt idx="188">
                  <c:v>5.7269142945249232E-3</c:v>
                </c:pt>
                <c:pt idx="189">
                  <c:v>7.5173702341332395E-3</c:v>
                </c:pt>
                <c:pt idx="190">
                  <c:v>8.6188670735316917E-3</c:v>
                </c:pt>
                <c:pt idx="191">
                  <c:v>6.6899319971860903E-3</c:v>
                </c:pt>
                <c:pt idx="192">
                  <c:v>8.7469726539537735E-3</c:v>
                </c:pt>
                <c:pt idx="193">
                  <c:v>1.5318259632272839E-2</c:v>
                </c:pt>
                <c:pt idx="194">
                  <c:v>6.780103005411044E-3</c:v>
                </c:pt>
                <c:pt idx="195">
                  <c:v>4.7973080508378237E-3</c:v>
                </c:pt>
                <c:pt idx="196">
                  <c:v>7.0876546670404035E-3</c:v>
                </c:pt>
                <c:pt idx="197">
                  <c:v>6.1824210519363003E-3</c:v>
                </c:pt>
                <c:pt idx="198">
                  <c:v>6.4979990503967987E-3</c:v>
                </c:pt>
                <c:pt idx="199">
                  <c:v>7.1733037002637123E-3</c:v>
                </c:pt>
                <c:pt idx="200">
                  <c:v>1.0598958946699013E-2</c:v>
                </c:pt>
                <c:pt idx="201">
                  <c:v>6.8720088354399314E-3</c:v>
                </c:pt>
                <c:pt idx="202">
                  <c:v>2.8406617326948193E-3</c:v>
                </c:pt>
                <c:pt idx="203">
                  <c:v>5.1362297496318115E-3</c:v>
                </c:pt>
                <c:pt idx="204">
                  <c:v>5.0412527818487762E-3</c:v>
                </c:pt>
                <c:pt idx="205">
                  <c:v>4.8573251362950933E-3</c:v>
                </c:pt>
                <c:pt idx="206">
                  <c:v>6.0884935888443088E-3</c:v>
                </c:pt>
                <c:pt idx="207">
                  <c:v>9.7367241047978982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C4-4F8B-BFF0-E6161AC7AB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4862472"/>
        <c:axId val="414859336"/>
      </c:lineChart>
      <c:dateAx>
        <c:axId val="41486247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59336"/>
        <c:crosses val="autoZero"/>
        <c:auto val="1"/>
        <c:lblOffset val="100"/>
        <c:baseTimeUnit val="days"/>
        <c:majorUnit val="3"/>
      </c:dateAx>
      <c:valAx>
        <c:axId val="414859336"/>
        <c:scaling>
          <c:orientation val="minMax"/>
          <c:max val="0.45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624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6.12.2020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D7-411D-BC8F-2D0301BF9EC4}"/>
              </c:ext>
            </c:extLst>
          </c:dPt>
          <c:dPt>
            <c:idx val="8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9D7-411D-BC8F-2D0301BF9EC4}"/>
              </c:ext>
            </c:extLst>
          </c:dPt>
          <c:dPt>
            <c:idx val="9"/>
            <c:invertIfNegative val="0"/>
            <c:bubble3D val="0"/>
            <c:spPr>
              <a:solidFill>
                <a:srgbClr val="D3114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05D7-49A6-A733-2E4000307504}"/>
              </c:ext>
            </c:extLst>
          </c:dPt>
          <c:dPt>
            <c:idx val="10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0F17-4442-95A5-2808791B62CF}"/>
              </c:ext>
            </c:extLst>
          </c:dPt>
          <c:dPt>
            <c:idx val="11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9D7-411D-BC8F-2D0301BF9EC4}"/>
              </c:ext>
            </c:extLst>
          </c:dPt>
          <c:dPt>
            <c:idx val="12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9D7-411D-BC8F-2D0301BF9EC4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27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JMK</c:v>
                </c:pt>
                <c:pt idx="1">
                  <c:v>PLK</c:v>
                </c:pt>
                <c:pt idx="2">
                  <c:v>OLK</c:v>
                </c:pt>
                <c:pt idx="3">
                  <c:v>MSK</c:v>
                </c:pt>
                <c:pt idx="4">
                  <c:v>HKK</c:v>
                </c:pt>
                <c:pt idx="5">
                  <c:v>ZLK</c:v>
                </c:pt>
                <c:pt idx="6">
                  <c:v>LBK</c:v>
                </c:pt>
                <c:pt idx="7">
                  <c:v>PAK</c:v>
                </c:pt>
                <c:pt idx="8">
                  <c:v>KVK</c:v>
                </c:pt>
                <c:pt idx="9">
                  <c:v>ČR</c:v>
                </c:pt>
                <c:pt idx="10">
                  <c:v>VYS</c:v>
                </c:pt>
                <c:pt idx="11">
                  <c:v>STC</c:v>
                </c:pt>
                <c:pt idx="12">
                  <c:v>JHC</c:v>
                </c:pt>
                <c:pt idx="13">
                  <c:v>ULK</c:v>
                </c:pt>
                <c:pt idx="14">
                  <c:v>PHA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68.709999999999994</c:v>
                </c:pt>
                <c:pt idx="1">
                  <c:v>75.95</c:v>
                </c:pt>
                <c:pt idx="2">
                  <c:v>80.38</c:v>
                </c:pt>
                <c:pt idx="3">
                  <c:v>100.62</c:v>
                </c:pt>
                <c:pt idx="4">
                  <c:v>104.41</c:v>
                </c:pt>
                <c:pt idx="5">
                  <c:v>119.65</c:v>
                </c:pt>
                <c:pt idx="6">
                  <c:v>135.68</c:v>
                </c:pt>
                <c:pt idx="7">
                  <c:v>150</c:v>
                </c:pt>
                <c:pt idx="8">
                  <c:v>151.02000000000001</c:v>
                </c:pt>
                <c:pt idx="9">
                  <c:v>151.52000000000001</c:v>
                </c:pt>
                <c:pt idx="10">
                  <c:v>170.65</c:v>
                </c:pt>
                <c:pt idx="11">
                  <c:v>172.91</c:v>
                </c:pt>
                <c:pt idx="12">
                  <c:v>184.14</c:v>
                </c:pt>
                <c:pt idx="13">
                  <c:v>193.31</c:v>
                </c:pt>
                <c:pt idx="14">
                  <c:v>307.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9D7-411D-BC8F-2D0301BF9E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1119328496"/>
        <c:axId val="1423693200"/>
      </c:barChart>
      <c:catAx>
        <c:axId val="1119328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23693200"/>
        <c:crosses val="autoZero"/>
        <c:auto val="1"/>
        <c:lblAlgn val="ctr"/>
        <c:lblOffset val="100"/>
        <c:noMultiLvlLbl val="0"/>
      </c:catAx>
      <c:valAx>
        <c:axId val="1423693200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1193284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6.12.2020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spPr>
              <a:solidFill>
                <a:srgbClr val="D3114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6F27-450D-B146-E620B44BD87A}"/>
              </c:ext>
            </c:extLst>
          </c:dPt>
          <c:dPt>
            <c:idx val="7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C5B8-4BF5-93E9-0DA4041436D6}"/>
              </c:ext>
            </c:extLst>
          </c:dPt>
          <c:dPt>
            <c:idx val="8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8B3-4892-BE27-0A33FA2791A5}"/>
              </c:ext>
            </c:extLst>
          </c:dPt>
          <c:dPt>
            <c:idx val="9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8B3-4892-BE27-0A33FA2791A5}"/>
              </c:ext>
            </c:extLst>
          </c:dPt>
          <c:dPt>
            <c:idx val="10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8B3-4892-BE27-0A33FA2791A5}"/>
              </c:ext>
            </c:extLst>
          </c:dPt>
          <c:dPt>
            <c:idx val="11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733-43BE-A939-E2363A528B3B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27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VYS</c:v>
                </c:pt>
                <c:pt idx="1">
                  <c:v>ULK</c:v>
                </c:pt>
                <c:pt idx="2">
                  <c:v>MSK</c:v>
                </c:pt>
                <c:pt idx="3">
                  <c:v>STC</c:v>
                </c:pt>
                <c:pt idx="4">
                  <c:v>JMK</c:v>
                </c:pt>
                <c:pt idx="5">
                  <c:v>ČR</c:v>
                </c:pt>
                <c:pt idx="6">
                  <c:v>JHC</c:v>
                </c:pt>
                <c:pt idx="7">
                  <c:v>KVK</c:v>
                </c:pt>
                <c:pt idx="8">
                  <c:v>OLK</c:v>
                </c:pt>
                <c:pt idx="9">
                  <c:v>PLK</c:v>
                </c:pt>
                <c:pt idx="10">
                  <c:v>LBK</c:v>
                </c:pt>
                <c:pt idx="11">
                  <c:v>PHA</c:v>
                </c:pt>
                <c:pt idx="12">
                  <c:v>PAK</c:v>
                </c:pt>
                <c:pt idx="13">
                  <c:v>ZLK</c:v>
                </c:pt>
                <c:pt idx="14">
                  <c:v>HKK</c:v>
                </c:pt>
              </c:strCache>
            </c:strRef>
          </c:cat>
          <c:val>
            <c:numRef>
              <c:f>Sheet1!$B$2:$B$16</c:f>
              <c:numCache>
                <c:formatCode>#,##0.00</c:formatCode>
                <c:ptCount val="15"/>
                <c:pt idx="0">
                  <c:v>4948.09</c:v>
                </c:pt>
                <c:pt idx="1">
                  <c:v>5895.26</c:v>
                </c:pt>
                <c:pt idx="2">
                  <c:v>6319.66</c:v>
                </c:pt>
                <c:pt idx="3">
                  <c:v>6352.35</c:v>
                </c:pt>
                <c:pt idx="4">
                  <c:v>6690.83</c:v>
                </c:pt>
                <c:pt idx="5">
                  <c:v>6703.99</c:v>
                </c:pt>
                <c:pt idx="6">
                  <c:v>6860.92</c:v>
                </c:pt>
                <c:pt idx="7">
                  <c:v>6930.27</c:v>
                </c:pt>
                <c:pt idx="8">
                  <c:v>6962.33</c:v>
                </c:pt>
                <c:pt idx="9">
                  <c:v>6965.94</c:v>
                </c:pt>
                <c:pt idx="10">
                  <c:v>7009.62</c:v>
                </c:pt>
                <c:pt idx="11">
                  <c:v>7032.37</c:v>
                </c:pt>
                <c:pt idx="12">
                  <c:v>7138.07</c:v>
                </c:pt>
                <c:pt idx="13">
                  <c:v>7494.57</c:v>
                </c:pt>
                <c:pt idx="14">
                  <c:v>8117.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8B3-4892-BE27-0A33FA2791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1119328496"/>
        <c:axId val="1423693200"/>
      </c:barChart>
      <c:catAx>
        <c:axId val="1119328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23693200"/>
        <c:crosses val="autoZero"/>
        <c:auto val="1"/>
        <c:lblAlgn val="ctr"/>
        <c:lblOffset val="100"/>
        <c:noMultiLvlLbl val="0"/>
      </c:catAx>
      <c:valAx>
        <c:axId val="1423693200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1193284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6.12.2020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BE6-4E95-9B92-4A64DA7323AE}"/>
              </c:ext>
            </c:extLst>
          </c:dPt>
          <c:dPt>
            <c:idx val="7"/>
            <c:invertIfNegative val="0"/>
            <c:bubble3D val="0"/>
            <c:spPr>
              <a:solidFill>
                <a:srgbClr val="D3114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BE6-4E95-9B92-4A64DA7323AE}"/>
              </c:ext>
            </c:extLst>
          </c:dPt>
          <c:dPt>
            <c:idx val="8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BE6-4E95-9B92-4A64DA7323AE}"/>
              </c:ext>
            </c:extLst>
          </c:dPt>
          <c:dPt>
            <c:idx val="9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BE6-4E95-9B92-4A64DA7323AE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27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PLK</c:v>
                </c:pt>
                <c:pt idx="1">
                  <c:v>OLK</c:v>
                </c:pt>
                <c:pt idx="2">
                  <c:v>PHA</c:v>
                </c:pt>
                <c:pt idx="3">
                  <c:v>KVK</c:v>
                </c:pt>
                <c:pt idx="4">
                  <c:v>JMK</c:v>
                </c:pt>
                <c:pt idx="5">
                  <c:v>JHC</c:v>
                </c:pt>
                <c:pt idx="6">
                  <c:v>STC</c:v>
                </c:pt>
                <c:pt idx="7">
                  <c:v>ČR</c:v>
                </c:pt>
                <c:pt idx="8">
                  <c:v>LBK</c:v>
                </c:pt>
                <c:pt idx="9">
                  <c:v>VYS</c:v>
                </c:pt>
                <c:pt idx="10">
                  <c:v>HKK</c:v>
                </c:pt>
                <c:pt idx="11">
                  <c:v>MSK</c:v>
                </c:pt>
                <c:pt idx="12">
                  <c:v>ULK</c:v>
                </c:pt>
                <c:pt idx="13">
                  <c:v>PAK</c:v>
                </c:pt>
                <c:pt idx="14">
                  <c:v>ZLK</c:v>
                </c:pt>
              </c:strCache>
            </c:strRef>
          </c:cat>
          <c:val>
            <c:numRef>
              <c:f>Sheet1!$B$2:$B$16</c:f>
              <c:numCache>
                <c:formatCode>#,##0.00</c:formatCode>
                <c:ptCount val="15"/>
                <c:pt idx="0">
                  <c:v>747.25</c:v>
                </c:pt>
                <c:pt idx="1">
                  <c:v>1025.29</c:v>
                </c:pt>
                <c:pt idx="2">
                  <c:v>1060.96</c:v>
                </c:pt>
                <c:pt idx="3">
                  <c:v>1073.77</c:v>
                </c:pt>
                <c:pt idx="4">
                  <c:v>1157.73</c:v>
                </c:pt>
                <c:pt idx="5">
                  <c:v>1223.29</c:v>
                </c:pt>
                <c:pt idx="6">
                  <c:v>1251.57</c:v>
                </c:pt>
                <c:pt idx="7">
                  <c:v>1322.77</c:v>
                </c:pt>
                <c:pt idx="8">
                  <c:v>1346.66</c:v>
                </c:pt>
                <c:pt idx="9">
                  <c:v>1433.47</c:v>
                </c:pt>
                <c:pt idx="10">
                  <c:v>1539.03</c:v>
                </c:pt>
                <c:pt idx="11">
                  <c:v>1563.05</c:v>
                </c:pt>
                <c:pt idx="12">
                  <c:v>1661.22</c:v>
                </c:pt>
                <c:pt idx="13">
                  <c:v>1799.44</c:v>
                </c:pt>
                <c:pt idx="14">
                  <c:v>1846.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BE6-4E95-9B92-4A64DA7323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1119328496"/>
        <c:axId val="1423693200"/>
      </c:barChart>
      <c:catAx>
        <c:axId val="1119328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23693200"/>
        <c:crosses val="autoZero"/>
        <c:auto val="1"/>
        <c:lblAlgn val="ctr"/>
        <c:lblOffset val="100"/>
        <c:noMultiLvlLbl val="0"/>
      </c:catAx>
      <c:valAx>
        <c:axId val="1423693200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1193284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6.12.2020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F5D-4112-BA16-8C87FD34EF17}"/>
              </c:ext>
            </c:extLst>
          </c:dPt>
          <c:dPt>
            <c:idx val="7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463-4009-A1B7-0F4433D1BE27}"/>
              </c:ext>
            </c:extLst>
          </c:dPt>
          <c:dPt>
            <c:idx val="8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F5D-4112-BA16-8C87FD34EF17}"/>
              </c:ext>
            </c:extLst>
          </c:dPt>
          <c:dPt>
            <c:idx val="9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F5D-4112-BA16-8C87FD34EF17}"/>
              </c:ext>
            </c:extLst>
          </c:dPt>
          <c:dPt>
            <c:idx val="10"/>
            <c:invertIfNegative val="0"/>
            <c:bubble3D val="0"/>
            <c:spPr>
              <a:solidFill>
                <a:srgbClr val="D3114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4D40-40F6-8821-E66DCC102762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27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VK</c:v>
                </c:pt>
                <c:pt idx="1">
                  <c:v>HKK</c:v>
                </c:pt>
                <c:pt idx="2">
                  <c:v>LBK</c:v>
                </c:pt>
                <c:pt idx="3">
                  <c:v>MSK</c:v>
                </c:pt>
                <c:pt idx="4">
                  <c:v>PAK</c:v>
                </c:pt>
                <c:pt idx="5">
                  <c:v>STC</c:v>
                </c:pt>
                <c:pt idx="6">
                  <c:v>OLK</c:v>
                </c:pt>
                <c:pt idx="7">
                  <c:v>JHC</c:v>
                </c:pt>
                <c:pt idx="8">
                  <c:v>PHA</c:v>
                </c:pt>
                <c:pt idx="9">
                  <c:v>ZLK</c:v>
                </c:pt>
                <c:pt idx="10">
                  <c:v>ČR</c:v>
                </c:pt>
                <c:pt idx="11">
                  <c:v>JMK</c:v>
                </c:pt>
                <c:pt idx="12">
                  <c:v>ULK</c:v>
                </c:pt>
                <c:pt idx="13">
                  <c:v>PLK</c:v>
                </c:pt>
                <c:pt idx="14">
                  <c:v>VYS</c:v>
                </c:pt>
              </c:strCache>
            </c:strRef>
          </c:cat>
          <c:val>
            <c:numRef>
              <c:f>Sheet1!$B$2:$B$16</c:f>
              <c:numCache>
                <c:formatCode>#,##0.00</c:formatCode>
                <c:ptCount val="15"/>
                <c:pt idx="0">
                  <c:v>517.20000000000005</c:v>
                </c:pt>
                <c:pt idx="1">
                  <c:v>637.73</c:v>
                </c:pt>
                <c:pt idx="2">
                  <c:v>873.58</c:v>
                </c:pt>
                <c:pt idx="3">
                  <c:v>1004.63</c:v>
                </c:pt>
                <c:pt idx="4">
                  <c:v>1022.08</c:v>
                </c:pt>
                <c:pt idx="5">
                  <c:v>1158.08</c:v>
                </c:pt>
                <c:pt idx="6">
                  <c:v>1204.8800000000001</c:v>
                </c:pt>
                <c:pt idx="7">
                  <c:v>1233.8499999999999</c:v>
                </c:pt>
                <c:pt idx="8">
                  <c:v>1248.9100000000001</c:v>
                </c:pt>
                <c:pt idx="9">
                  <c:v>1253.44</c:v>
                </c:pt>
                <c:pt idx="10">
                  <c:v>1369.5</c:v>
                </c:pt>
                <c:pt idx="11">
                  <c:v>1553.79</c:v>
                </c:pt>
                <c:pt idx="12">
                  <c:v>1887.41</c:v>
                </c:pt>
                <c:pt idx="13">
                  <c:v>2295.8200000000002</c:v>
                </c:pt>
                <c:pt idx="14">
                  <c:v>3359.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F5D-4112-BA16-8C87FD34EF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1119328496"/>
        <c:axId val="1423693200"/>
      </c:barChart>
      <c:catAx>
        <c:axId val="1119328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23693200"/>
        <c:crosses val="autoZero"/>
        <c:auto val="1"/>
        <c:lblAlgn val="ctr"/>
        <c:lblOffset val="100"/>
        <c:noMultiLvlLbl val="0"/>
      </c:catAx>
      <c:valAx>
        <c:axId val="1423693200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1193284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incidence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26</c:f>
              <c:numCache>
                <c:formatCode>m/d/yyyy</c:formatCode>
                <c:ptCount val="125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</c:numCache>
            </c:numRef>
          </c:cat>
          <c:val>
            <c:numRef>
              <c:f>Sheet1!$B$2:$B$126</c:f>
              <c:numCache>
                <c:formatCode>General</c:formatCode>
                <c:ptCount val="125"/>
                <c:pt idx="0">
                  <c:v>5180</c:v>
                </c:pt>
                <c:pt idx="1">
                  <c:v>4561</c:v>
                </c:pt>
                <c:pt idx="2">
                  <c:v>4624</c:v>
                </c:pt>
                <c:pt idx="3">
                  <c:v>4747</c:v>
                </c:pt>
                <c:pt idx="4">
                  <c:v>3312</c:v>
                </c:pt>
                <c:pt idx="5">
                  <c:v>1112</c:v>
                </c:pt>
                <c:pt idx="6">
                  <c:v>4251</c:v>
                </c:pt>
                <c:pt idx="7">
                  <c:v>5855</c:v>
                </c:pt>
                <c:pt idx="8">
                  <c:v>6414</c:v>
                </c:pt>
                <c:pt idx="9">
                  <c:v>5872</c:v>
                </c:pt>
                <c:pt idx="10">
                  <c:v>6209</c:v>
                </c:pt>
                <c:pt idx="11">
                  <c:v>3655</c:v>
                </c:pt>
                <c:pt idx="12">
                  <c:v>1998</c:v>
                </c:pt>
                <c:pt idx="13">
                  <c:v>5176</c:v>
                </c:pt>
                <c:pt idx="14">
                  <c:v>7908</c:v>
                </c:pt>
                <c:pt idx="15">
                  <c:v>8258</c:v>
                </c:pt>
                <c:pt idx="16">
                  <c:v>7614</c:v>
                </c:pt>
                <c:pt idx="17">
                  <c:v>8836</c:v>
                </c:pt>
                <c:pt idx="18">
                  <c:v>5326</c:v>
                </c:pt>
                <c:pt idx="19">
                  <c:v>3403</c:v>
                </c:pt>
                <c:pt idx="20">
                  <c:v>7950</c:v>
                </c:pt>
                <c:pt idx="21">
                  <c:v>10911</c:v>
                </c:pt>
                <c:pt idx="22">
                  <c:v>14138</c:v>
                </c:pt>
                <c:pt idx="23">
                  <c:v>4373</c:v>
                </c:pt>
                <c:pt idx="24">
                  <c:v>2671</c:v>
                </c:pt>
                <c:pt idx="25">
                  <c:v>3031</c:v>
                </c:pt>
                <c:pt idx="26">
                  <c:v>3781</c:v>
                </c:pt>
                <c:pt idx="27">
                  <c:v>10935</c:v>
                </c:pt>
                <c:pt idx="28">
                  <c:v>16473</c:v>
                </c:pt>
                <c:pt idx="29">
                  <c:v>17059</c:v>
                </c:pt>
                <c:pt idx="30">
                  <c:v>13307</c:v>
                </c:pt>
                <c:pt idx="31">
                  <c:v>3446</c:v>
                </c:pt>
                <c:pt idx="32">
                  <c:v>4985</c:v>
                </c:pt>
                <c:pt idx="33">
                  <c:v>6267</c:v>
                </c:pt>
                <c:pt idx="34">
                  <c:v>12954</c:v>
                </c:pt>
                <c:pt idx="35">
                  <c:v>17399</c:v>
                </c:pt>
                <c:pt idx="36">
                  <c:v>17769</c:v>
                </c:pt>
                <c:pt idx="37">
                  <c:v>14882</c:v>
                </c:pt>
                <c:pt idx="38">
                  <c:v>13099</c:v>
                </c:pt>
                <c:pt idx="39">
                  <c:v>8437</c:v>
                </c:pt>
                <c:pt idx="40">
                  <c:v>4311</c:v>
                </c:pt>
                <c:pt idx="41">
                  <c:v>9383</c:v>
                </c:pt>
                <c:pt idx="42">
                  <c:v>10808</c:v>
                </c:pt>
                <c:pt idx="43">
                  <c:v>10917</c:v>
                </c:pt>
                <c:pt idx="44">
                  <c:v>8087</c:v>
                </c:pt>
                <c:pt idx="45">
                  <c:v>9300</c:v>
                </c:pt>
                <c:pt idx="46">
                  <c:v>5241</c:v>
                </c:pt>
                <c:pt idx="47">
                  <c:v>2641</c:v>
                </c:pt>
                <c:pt idx="48">
                  <c:v>7667</c:v>
                </c:pt>
                <c:pt idx="49">
                  <c:v>9609</c:v>
                </c:pt>
                <c:pt idx="50">
                  <c:v>8215</c:v>
                </c:pt>
                <c:pt idx="51">
                  <c:v>7532</c:v>
                </c:pt>
                <c:pt idx="52">
                  <c:v>8466</c:v>
                </c:pt>
                <c:pt idx="53">
                  <c:v>4239</c:v>
                </c:pt>
                <c:pt idx="54">
                  <c:v>2394</c:v>
                </c:pt>
                <c:pt idx="55">
                  <c:v>6974</c:v>
                </c:pt>
                <c:pt idx="56">
                  <c:v>9194</c:v>
                </c:pt>
                <c:pt idx="57">
                  <c:v>8503</c:v>
                </c:pt>
                <c:pt idx="58">
                  <c:v>8010</c:v>
                </c:pt>
                <c:pt idx="59">
                  <c:v>8052</c:v>
                </c:pt>
                <c:pt idx="60">
                  <c:v>4055</c:v>
                </c:pt>
                <c:pt idx="61">
                  <c:v>2573</c:v>
                </c:pt>
                <c:pt idx="62">
                  <c:v>7217</c:v>
                </c:pt>
                <c:pt idx="63">
                  <c:v>9148</c:v>
                </c:pt>
                <c:pt idx="64">
                  <c:v>9666</c:v>
                </c:pt>
                <c:pt idx="65">
                  <c:v>8106</c:v>
                </c:pt>
                <c:pt idx="66">
                  <c:v>8621</c:v>
                </c:pt>
                <c:pt idx="67">
                  <c:v>4820</c:v>
                </c:pt>
                <c:pt idx="68">
                  <c:v>2451</c:v>
                </c:pt>
                <c:pt idx="69">
                  <c:v>7779</c:v>
                </c:pt>
                <c:pt idx="70">
                  <c:v>10283</c:v>
                </c:pt>
                <c:pt idx="71">
                  <c:v>9538</c:v>
                </c:pt>
                <c:pt idx="72">
                  <c:v>9017</c:v>
                </c:pt>
                <c:pt idx="73">
                  <c:v>8827</c:v>
                </c:pt>
                <c:pt idx="74">
                  <c:v>5141</c:v>
                </c:pt>
                <c:pt idx="75">
                  <c:v>2881</c:v>
                </c:pt>
                <c:pt idx="76">
                  <c:v>8905</c:v>
                </c:pt>
                <c:pt idx="77">
                  <c:v>12609</c:v>
                </c:pt>
                <c:pt idx="78">
                  <c:v>10938</c:v>
                </c:pt>
                <c:pt idx="79">
                  <c:v>11702</c:v>
                </c:pt>
                <c:pt idx="80">
                  <c:v>11287</c:v>
                </c:pt>
                <c:pt idx="81">
                  <c:v>6775</c:v>
                </c:pt>
                <c:pt idx="82">
                  <c:v>4068</c:v>
                </c:pt>
                <c:pt idx="83">
                  <c:v>11408</c:v>
                </c:pt>
                <c:pt idx="84">
                  <c:v>15841</c:v>
                </c:pt>
                <c:pt idx="85">
                  <c:v>13795</c:v>
                </c:pt>
                <c:pt idx="86">
                  <c:v>14588</c:v>
                </c:pt>
                <c:pt idx="87">
                  <c:v>14776</c:v>
                </c:pt>
                <c:pt idx="88">
                  <c:v>7823</c:v>
                </c:pt>
                <c:pt idx="89">
                  <c:v>4587</c:v>
                </c:pt>
                <c:pt idx="90">
                  <c:v>12321</c:v>
                </c:pt>
                <c:pt idx="91">
                  <c:v>16775</c:v>
                </c:pt>
                <c:pt idx="92">
                  <c:v>15239</c:v>
                </c:pt>
                <c:pt idx="93">
                  <c:v>14645</c:v>
                </c:pt>
                <c:pt idx="94">
                  <c:v>13168</c:v>
                </c:pt>
                <c:pt idx="95">
                  <c:v>9123</c:v>
                </c:pt>
                <c:pt idx="96">
                  <c:v>3981</c:v>
                </c:pt>
                <c:pt idx="97">
                  <c:v>10653</c:v>
                </c:pt>
                <c:pt idx="98">
                  <c:v>15355</c:v>
                </c:pt>
                <c:pt idx="99">
                  <c:v>14532</c:v>
                </c:pt>
                <c:pt idx="100">
                  <c:v>11240</c:v>
                </c:pt>
                <c:pt idx="101">
                  <c:v>14956</c:v>
                </c:pt>
                <c:pt idx="102">
                  <c:v>6955</c:v>
                </c:pt>
                <c:pt idx="103">
                  <c:v>3330</c:v>
                </c:pt>
                <c:pt idx="104">
                  <c:v>10620</c:v>
                </c:pt>
                <c:pt idx="105">
                  <c:v>14025</c:v>
                </c:pt>
                <c:pt idx="106">
                  <c:v>12020</c:v>
                </c:pt>
                <c:pt idx="107">
                  <c:v>10651</c:v>
                </c:pt>
                <c:pt idx="108">
                  <c:v>9706</c:v>
                </c:pt>
                <c:pt idx="109">
                  <c:v>5463</c:v>
                </c:pt>
                <c:pt idx="110">
                  <c:v>2388</c:v>
                </c:pt>
                <c:pt idx="111">
                  <c:v>8240</c:v>
                </c:pt>
                <c:pt idx="112">
                  <c:v>10966</c:v>
                </c:pt>
                <c:pt idx="113">
                  <c:v>8841</c:v>
                </c:pt>
                <c:pt idx="114">
                  <c:v>7912</c:v>
                </c:pt>
                <c:pt idx="115">
                  <c:v>7698</c:v>
                </c:pt>
                <c:pt idx="116">
                  <c:v>39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73D-4A48-BE0F-1E30C99130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v/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26</c:f>
              <c:numCache>
                <c:formatCode>m/d/yyyy</c:formatCode>
                <c:ptCount val="125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</c:numCache>
            </c:numRef>
          </c:cat>
          <c:val>
            <c:numRef>
              <c:f>Sheet1!$C$2:$C$126</c:f>
              <c:numCache>
                <c:formatCode>General</c:formatCode>
                <c:ptCount val="12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73D-4A48-BE0F-1E30C991302C}"/>
            </c:ext>
          </c:extLst>
        </c:ser>
        <c:ser>
          <c:idx val="2"/>
          <c:order val="2"/>
          <c:tx>
            <c:v>0,8</c:v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26</c:f>
              <c:numCache>
                <c:formatCode>m/d/yyyy</c:formatCode>
                <c:ptCount val="125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</c:numCache>
            </c:numRef>
          </c:cat>
          <c:val>
            <c:numRef>
              <c:f>Sheet1!$D$2:$D$126</c:f>
              <c:numCache>
                <c:formatCode>General</c:formatCode>
                <c:ptCount val="125"/>
                <c:pt idx="101">
                  <c:v>11072</c:v>
                </c:pt>
                <c:pt idx="102">
                  <c:v>10729</c:v>
                </c:pt>
                <c:pt idx="103">
                  <c:v>10325</c:v>
                </c:pt>
                <c:pt idx="104">
                  <c:v>9869</c:v>
                </c:pt>
                <c:pt idx="105">
                  <c:v>9377</c:v>
                </c:pt>
                <c:pt idx="106">
                  <c:v>9035</c:v>
                </c:pt>
                <c:pt idx="107">
                  <c:v>8749</c:v>
                </c:pt>
                <c:pt idx="108">
                  <c:v>8456</c:v>
                </c:pt>
                <c:pt idx="109">
                  <c:v>8114</c:v>
                </c:pt>
                <c:pt idx="110">
                  <c:v>7773</c:v>
                </c:pt>
                <c:pt idx="111">
                  <c:v>7457</c:v>
                </c:pt>
                <c:pt idx="112">
                  <c:v>7173</c:v>
                </c:pt>
                <c:pt idx="113">
                  <c:v>6921</c:v>
                </c:pt>
                <c:pt idx="114">
                  <c:v>6668</c:v>
                </c:pt>
                <c:pt idx="115">
                  <c:v>6410</c:v>
                </c:pt>
                <c:pt idx="116">
                  <c:v>6153</c:v>
                </c:pt>
                <c:pt idx="117">
                  <c:v>5915</c:v>
                </c:pt>
                <c:pt idx="118">
                  <c:v>5693</c:v>
                </c:pt>
                <c:pt idx="119">
                  <c:v>5484</c:v>
                </c:pt>
                <c:pt idx="120">
                  <c:v>5280</c:v>
                </c:pt>
                <c:pt idx="121">
                  <c:v>5079</c:v>
                </c:pt>
                <c:pt idx="122">
                  <c:v>4884</c:v>
                </c:pt>
                <c:pt idx="123">
                  <c:v>4698</c:v>
                </c:pt>
                <c:pt idx="124">
                  <c:v>45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73D-4A48-BE0F-1E30C991302C}"/>
            </c:ext>
          </c:extLst>
        </c:ser>
        <c:ser>
          <c:idx val="3"/>
          <c:order val="3"/>
          <c:tx>
            <c:v>0,9</c:v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26</c:f>
              <c:numCache>
                <c:formatCode>m/d/yyyy</c:formatCode>
                <c:ptCount val="125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</c:numCache>
            </c:numRef>
          </c:cat>
          <c:val>
            <c:numRef>
              <c:f>Sheet1!$E$2:$E$126</c:f>
              <c:numCache>
                <c:formatCode>General</c:formatCode>
                <c:ptCount val="125"/>
                <c:pt idx="101">
                  <c:v>12251</c:v>
                </c:pt>
                <c:pt idx="102">
                  <c:v>12073</c:v>
                </c:pt>
                <c:pt idx="103">
                  <c:v>11866</c:v>
                </c:pt>
                <c:pt idx="104">
                  <c:v>11620</c:v>
                </c:pt>
                <c:pt idx="105">
                  <c:v>11348</c:v>
                </c:pt>
                <c:pt idx="106">
                  <c:v>11150</c:v>
                </c:pt>
                <c:pt idx="107">
                  <c:v>10983</c:v>
                </c:pt>
                <c:pt idx="108">
                  <c:v>10810</c:v>
                </c:pt>
                <c:pt idx="109">
                  <c:v>10606</c:v>
                </c:pt>
                <c:pt idx="110">
                  <c:v>10398</c:v>
                </c:pt>
                <c:pt idx="111">
                  <c:v>10198</c:v>
                </c:pt>
                <c:pt idx="112">
                  <c:v>10016</c:v>
                </c:pt>
                <c:pt idx="113">
                  <c:v>9848</c:v>
                </c:pt>
                <c:pt idx="114">
                  <c:v>9679</c:v>
                </c:pt>
                <c:pt idx="115">
                  <c:v>9502</c:v>
                </c:pt>
                <c:pt idx="116">
                  <c:v>9323</c:v>
                </c:pt>
                <c:pt idx="117">
                  <c:v>9153</c:v>
                </c:pt>
                <c:pt idx="118">
                  <c:v>8991</c:v>
                </c:pt>
                <c:pt idx="119">
                  <c:v>8835</c:v>
                </c:pt>
                <c:pt idx="120">
                  <c:v>8679</c:v>
                </c:pt>
                <c:pt idx="121">
                  <c:v>8523</c:v>
                </c:pt>
                <c:pt idx="122">
                  <c:v>8368</c:v>
                </c:pt>
                <c:pt idx="123">
                  <c:v>8218</c:v>
                </c:pt>
                <c:pt idx="124">
                  <c:v>80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73D-4A48-BE0F-1E30C991302C}"/>
            </c:ext>
          </c:extLst>
        </c:ser>
        <c:ser>
          <c:idx val="4"/>
          <c:order val="4"/>
          <c:tx>
            <c:v>1,1</c:v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26</c:f>
              <c:numCache>
                <c:formatCode>m/d/yyyy</c:formatCode>
                <c:ptCount val="125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</c:numCache>
            </c:numRef>
          </c:cat>
          <c:val>
            <c:numRef>
              <c:f>Sheet1!$F$2:$F$126</c:f>
              <c:numCache>
                <c:formatCode>General</c:formatCode>
                <c:ptCount val="125"/>
                <c:pt idx="101">
                  <c:v>14609</c:v>
                </c:pt>
                <c:pt idx="102">
                  <c:v>14844</c:v>
                </c:pt>
                <c:pt idx="103">
                  <c:v>15162</c:v>
                </c:pt>
                <c:pt idx="104">
                  <c:v>15501</c:v>
                </c:pt>
                <c:pt idx="105">
                  <c:v>15846</c:v>
                </c:pt>
                <c:pt idx="106">
                  <c:v>16076</c:v>
                </c:pt>
                <c:pt idx="107">
                  <c:v>16303</c:v>
                </c:pt>
                <c:pt idx="108">
                  <c:v>16578</c:v>
                </c:pt>
                <c:pt idx="109">
                  <c:v>16919</c:v>
                </c:pt>
                <c:pt idx="110">
                  <c:v>17259</c:v>
                </c:pt>
                <c:pt idx="111">
                  <c:v>17574</c:v>
                </c:pt>
                <c:pt idx="112">
                  <c:v>17871</c:v>
                </c:pt>
                <c:pt idx="113">
                  <c:v>18165</c:v>
                </c:pt>
                <c:pt idx="114">
                  <c:v>18491</c:v>
                </c:pt>
                <c:pt idx="115">
                  <c:v>18840</c:v>
                </c:pt>
                <c:pt idx="116">
                  <c:v>19196</c:v>
                </c:pt>
                <c:pt idx="117">
                  <c:v>19538</c:v>
                </c:pt>
                <c:pt idx="118">
                  <c:v>19877</c:v>
                </c:pt>
                <c:pt idx="119">
                  <c:v>20226</c:v>
                </c:pt>
                <c:pt idx="120">
                  <c:v>20590</c:v>
                </c:pt>
                <c:pt idx="121">
                  <c:v>20968</c:v>
                </c:pt>
                <c:pt idx="122">
                  <c:v>21349</c:v>
                </c:pt>
                <c:pt idx="123">
                  <c:v>21729</c:v>
                </c:pt>
                <c:pt idx="124">
                  <c:v>221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DBC-47C2-8B14-B46001D177A4}"/>
            </c:ext>
          </c:extLst>
        </c:ser>
        <c:ser>
          <c:idx val="5"/>
          <c:order val="5"/>
          <c:tx>
            <c:v>1,15</c:v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26</c:f>
              <c:numCache>
                <c:formatCode>m/d/yyyy</c:formatCode>
                <c:ptCount val="125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</c:numCache>
            </c:numRef>
          </c:cat>
          <c:val>
            <c:numRef>
              <c:f>Sheet1!$G$2:$G$126</c:f>
              <c:numCache>
                <c:formatCode>General</c:formatCode>
                <c:ptCount val="125"/>
                <c:pt idx="101">
                  <c:v>15198</c:v>
                </c:pt>
                <c:pt idx="102">
                  <c:v>15554</c:v>
                </c:pt>
                <c:pt idx="103">
                  <c:v>16031</c:v>
                </c:pt>
                <c:pt idx="104">
                  <c:v>16549</c:v>
                </c:pt>
                <c:pt idx="105">
                  <c:v>17086</c:v>
                </c:pt>
                <c:pt idx="106">
                  <c:v>17454</c:v>
                </c:pt>
                <c:pt idx="107">
                  <c:v>17816</c:v>
                </c:pt>
                <c:pt idx="108">
                  <c:v>18251</c:v>
                </c:pt>
                <c:pt idx="109">
                  <c:v>18796</c:v>
                </c:pt>
                <c:pt idx="110">
                  <c:v>19344</c:v>
                </c:pt>
                <c:pt idx="111">
                  <c:v>19859</c:v>
                </c:pt>
                <c:pt idx="112">
                  <c:v>20349</c:v>
                </c:pt>
                <c:pt idx="113">
                  <c:v>20840</c:v>
                </c:pt>
                <c:pt idx="114">
                  <c:v>21384</c:v>
                </c:pt>
                <c:pt idx="115">
                  <c:v>21972</c:v>
                </c:pt>
                <c:pt idx="116">
                  <c:v>22574</c:v>
                </c:pt>
                <c:pt idx="117">
                  <c:v>23162</c:v>
                </c:pt>
                <c:pt idx="118">
                  <c:v>23748</c:v>
                </c:pt>
                <c:pt idx="119">
                  <c:v>24356</c:v>
                </c:pt>
                <c:pt idx="120">
                  <c:v>24996</c:v>
                </c:pt>
                <c:pt idx="121">
                  <c:v>25663</c:v>
                </c:pt>
                <c:pt idx="122">
                  <c:v>26343</c:v>
                </c:pt>
                <c:pt idx="123">
                  <c:v>27029</c:v>
                </c:pt>
                <c:pt idx="124">
                  <c:v>277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35F-422B-9D83-5878610B18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30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25639816114128E-2"/>
          <c:y val="3.7414076378474583E-2"/>
          <c:w val="0.93069323165507978"/>
          <c:h val="0.82729398410055177"/>
        </c:manualLayout>
      </c:layout>
      <c:lineChart>
        <c:grouping val="standard"/>
        <c:varyColors val="0"/>
        <c:ser>
          <c:idx val="0"/>
          <c:order val="0"/>
          <c:tx>
            <c:v>body</c:v>
          </c:tx>
          <c:spPr>
            <a:ln w="19050" cap="rnd">
              <a:solidFill>
                <a:schemeClr val="bg2">
                  <a:lumMod val="1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2">
                  <a:lumMod val="10000"/>
                </a:schemeClr>
              </a:solidFill>
              <a:ln w="19050">
                <a:solidFill>
                  <a:schemeClr val="bg2">
                    <a:lumMod val="10000"/>
                  </a:schemeClr>
                </a:solidFill>
              </a:ln>
              <a:effectLst/>
            </c:spPr>
          </c:marker>
          <c:cat>
            <c:numRef>
              <c:f>Sheet1!$A$2:$A$993</c:f>
              <c:numCache>
                <c:formatCode>m/d/yyyy</c:formatCode>
                <c:ptCount val="992"/>
                <c:pt idx="0">
                  <c:v>44105</c:v>
                </c:pt>
                <c:pt idx="1">
                  <c:v>44106</c:v>
                </c:pt>
                <c:pt idx="2">
                  <c:v>44107</c:v>
                </c:pt>
                <c:pt idx="3">
                  <c:v>44108</c:v>
                </c:pt>
                <c:pt idx="4">
                  <c:v>44109</c:v>
                </c:pt>
                <c:pt idx="5">
                  <c:v>44110</c:v>
                </c:pt>
                <c:pt idx="6">
                  <c:v>44111</c:v>
                </c:pt>
                <c:pt idx="7">
                  <c:v>44112</c:v>
                </c:pt>
                <c:pt idx="8">
                  <c:v>44113</c:v>
                </c:pt>
                <c:pt idx="9">
                  <c:v>44114</c:v>
                </c:pt>
                <c:pt idx="10">
                  <c:v>44115</c:v>
                </c:pt>
                <c:pt idx="11">
                  <c:v>44116</c:v>
                </c:pt>
                <c:pt idx="12">
                  <c:v>44117</c:v>
                </c:pt>
                <c:pt idx="13">
                  <c:v>44118</c:v>
                </c:pt>
                <c:pt idx="14">
                  <c:v>44119</c:v>
                </c:pt>
                <c:pt idx="15">
                  <c:v>44120</c:v>
                </c:pt>
                <c:pt idx="16">
                  <c:v>44121</c:v>
                </c:pt>
                <c:pt idx="17">
                  <c:v>44122</c:v>
                </c:pt>
                <c:pt idx="18">
                  <c:v>44123</c:v>
                </c:pt>
                <c:pt idx="19">
                  <c:v>44124</c:v>
                </c:pt>
                <c:pt idx="20">
                  <c:v>44125</c:v>
                </c:pt>
                <c:pt idx="21">
                  <c:v>44126</c:v>
                </c:pt>
                <c:pt idx="22">
                  <c:v>44127</c:v>
                </c:pt>
                <c:pt idx="23">
                  <c:v>44128</c:v>
                </c:pt>
                <c:pt idx="24">
                  <c:v>44129</c:v>
                </c:pt>
                <c:pt idx="25">
                  <c:v>44130</c:v>
                </c:pt>
                <c:pt idx="26">
                  <c:v>44131</c:v>
                </c:pt>
                <c:pt idx="27">
                  <c:v>44132</c:v>
                </c:pt>
                <c:pt idx="28">
                  <c:v>44133</c:v>
                </c:pt>
                <c:pt idx="29">
                  <c:v>44134</c:v>
                </c:pt>
                <c:pt idx="30">
                  <c:v>44135</c:v>
                </c:pt>
                <c:pt idx="31">
                  <c:v>44136</c:v>
                </c:pt>
                <c:pt idx="32">
                  <c:v>44137</c:v>
                </c:pt>
                <c:pt idx="33">
                  <c:v>44138</c:v>
                </c:pt>
                <c:pt idx="34">
                  <c:v>44139</c:v>
                </c:pt>
                <c:pt idx="35">
                  <c:v>44140</c:v>
                </c:pt>
                <c:pt idx="36">
                  <c:v>44141</c:v>
                </c:pt>
                <c:pt idx="37">
                  <c:v>44142</c:v>
                </c:pt>
                <c:pt idx="38">
                  <c:v>44143</c:v>
                </c:pt>
                <c:pt idx="39">
                  <c:v>44144</c:v>
                </c:pt>
                <c:pt idx="40">
                  <c:v>44145</c:v>
                </c:pt>
                <c:pt idx="41">
                  <c:v>44146</c:v>
                </c:pt>
                <c:pt idx="42">
                  <c:v>44147</c:v>
                </c:pt>
                <c:pt idx="43">
                  <c:v>44148</c:v>
                </c:pt>
                <c:pt idx="44">
                  <c:v>44149</c:v>
                </c:pt>
                <c:pt idx="45">
                  <c:v>44150</c:v>
                </c:pt>
                <c:pt idx="46">
                  <c:v>44151</c:v>
                </c:pt>
                <c:pt idx="47">
                  <c:v>44152</c:v>
                </c:pt>
                <c:pt idx="48">
                  <c:v>44153</c:v>
                </c:pt>
                <c:pt idx="49">
                  <c:v>44154</c:v>
                </c:pt>
                <c:pt idx="50">
                  <c:v>44155</c:v>
                </c:pt>
                <c:pt idx="51">
                  <c:v>44156</c:v>
                </c:pt>
                <c:pt idx="52">
                  <c:v>44157</c:v>
                </c:pt>
                <c:pt idx="53">
                  <c:v>44158</c:v>
                </c:pt>
                <c:pt idx="54">
                  <c:v>44159</c:v>
                </c:pt>
                <c:pt idx="55">
                  <c:v>44160</c:v>
                </c:pt>
                <c:pt idx="56">
                  <c:v>44161</c:v>
                </c:pt>
                <c:pt idx="57">
                  <c:v>44162</c:v>
                </c:pt>
                <c:pt idx="58">
                  <c:v>44163</c:v>
                </c:pt>
                <c:pt idx="59">
                  <c:v>44164</c:v>
                </c:pt>
                <c:pt idx="60">
                  <c:v>44165</c:v>
                </c:pt>
                <c:pt idx="61">
                  <c:v>44166</c:v>
                </c:pt>
                <c:pt idx="62">
                  <c:v>44167</c:v>
                </c:pt>
                <c:pt idx="63">
                  <c:v>44168</c:v>
                </c:pt>
                <c:pt idx="64">
                  <c:v>44169</c:v>
                </c:pt>
                <c:pt idx="65">
                  <c:v>44170</c:v>
                </c:pt>
                <c:pt idx="66">
                  <c:v>44171</c:v>
                </c:pt>
                <c:pt idx="67">
                  <c:v>44172</c:v>
                </c:pt>
                <c:pt idx="68">
                  <c:v>44173</c:v>
                </c:pt>
                <c:pt idx="69">
                  <c:v>44174</c:v>
                </c:pt>
                <c:pt idx="70">
                  <c:v>44175</c:v>
                </c:pt>
                <c:pt idx="71">
                  <c:v>44176</c:v>
                </c:pt>
                <c:pt idx="72">
                  <c:v>44177</c:v>
                </c:pt>
                <c:pt idx="73">
                  <c:v>44178</c:v>
                </c:pt>
                <c:pt idx="74">
                  <c:v>44179</c:v>
                </c:pt>
                <c:pt idx="75">
                  <c:v>44180</c:v>
                </c:pt>
                <c:pt idx="76">
                  <c:v>44181</c:v>
                </c:pt>
                <c:pt idx="77">
                  <c:v>44182</c:v>
                </c:pt>
                <c:pt idx="78">
                  <c:v>44183</c:v>
                </c:pt>
                <c:pt idx="79">
                  <c:v>44184</c:v>
                </c:pt>
                <c:pt idx="80">
                  <c:v>44185</c:v>
                </c:pt>
                <c:pt idx="81">
                  <c:v>44186</c:v>
                </c:pt>
                <c:pt idx="82">
                  <c:v>44187</c:v>
                </c:pt>
                <c:pt idx="83">
                  <c:v>44188</c:v>
                </c:pt>
                <c:pt idx="84">
                  <c:v>44189</c:v>
                </c:pt>
                <c:pt idx="85">
                  <c:v>44190</c:v>
                </c:pt>
                <c:pt idx="86">
                  <c:v>44191</c:v>
                </c:pt>
                <c:pt idx="87">
                  <c:v>44192</c:v>
                </c:pt>
                <c:pt idx="88">
                  <c:v>44193</c:v>
                </c:pt>
                <c:pt idx="89">
                  <c:v>44194</c:v>
                </c:pt>
                <c:pt idx="90">
                  <c:v>44195</c:v>
                </c:pt>
                <c:pt idx="91">
                  <c:v>44196</c:v>
                </c:pt>
                <c:pt idx="92">
                  <c:v>44197</c:v>
                </c:pt>
                <c:pt idx="93">
                  <c:v>44198</c:v>
                </c:pt>
                <c:pt idx="94">
                  <c:v>44199</c:v>
                </c:pt>
                <c:pt idx="95">
                  <c:v>44200</c:v>
                </c:pt>
                <c:pt idx="96">
                  <c:v>44201</c:v>
                </c:pt>
                <c:pt idx="97">
                  <c:v>44202</c:v>
                </c:pt>
                <c:pt idx="98">
                  <c:v>44203</c:v>
                </c:pt>
                <c:pt idx="99">
                  <c:v>44204</c:v>
                </c:pt>
                <c:pt idx="100">
                  <c:v>44205</c:v>
                </c:pt>
                <c:pt idx="101">
                  <c:v>44206</c:v>
                </c:pt>
                <c:pt idx="102">
                  <c:v>44207</c:v>
                </c:pt>
                <c:pt idx="103">
                  <c:v>44208</c:v>
                </c:pt>
                <c:pt idx="104">
                  <c:v>44209</c:v>
                </c:pt>
                <c:pt idx="105">
                  <c:v>44210</c:v>
                </c:pt>
                <c:pt idx="106">
                  <c:v>44211</c:v>
                </c:pt>
                <c:pt idx="107">
                  <c:v>44212</c:v>
                </c:pt>
                <c:pt idx="108">
                  <c:v>44213</c:v>
                </c:pt>
                <c:pt idx="109">
                  <c:v>44214</c:v>
                </c:pt>
                <c:pt idx="110">
                  <c:v>44215</c:v>
                </c:pt>
                <c:pt idx="111">
                  <c:v>44216</c:v>
                </c:pt>
                <c:pt idx="112">
                  <c:v>44217</c:v>
                </c:pt>
                <c:pt idx="113">
                  <c:v>44218</c:v>
                </c:pt>
                <c:pt idx="114">
                  <c:v>44219</c:v>
                </c:pt>
                <c:pt idx="115">
                  <c:v>44220</c:v>
                </c:pt>
                <c:pt idx="116">
                  <c:v>44221</c:v>
                </c:pt>
                <c:pt idx="117">
                  <c:v>44222</c:v>
                </c:pt>
                <c:pt idx="118">
                  <c:v>44223</c:v>
                </c:pt>
                <c:pt idx="119">
                  <c:v>44224</c:v>
                </c:pt>
                <c:pt idx="120">
                  <c:v>44225</c:v>
                </c:pt>
                <c:pt idx="121">
                  <c:v>44226</c:v>
                </c:pt>
                <c:pt idx="122">
                  <c:v>44227</c:v>
                </c:pt>
                <c:pt idx="123">
                  <c:v>44228</c:v>
                </c:pt>
                <c:pt idx="124">
                  <c:v>44229</c:v>
                </c:pt>
                <c:pt idx="125">
                  <c:v>44230</c:v>
                </c:pt>
                <c:pt idx="126">
                  <c:v>44231</c:v>
                </c:pt>
                <c:pt idx="127">
                  <c:v>44232</c:v>
                </c:pt>
                <c:pt idx="128">
                  <c:v>44233</c:v>
                </c:pt>
                <c:pt idx="129">
                  <c:v>44234</c:v>
                </c:pt>
                <c:pt idx="130">
                  <c:v>44235</c:v>
                </c:pt>
                <c:pt idx="131">
                  <c:v>44236</c:v>
                </c:pt>
                <c:pt idx="132">
                  <c:v>44237</c:v>
                </c:pt>
                <c:pt idx="133">
                  <c:v>44238</c:v>
                </c:pt>
                <c:pt idx="134">
                  <c:v>44239</c:v>
                </c:pt>
                <c:pt idx="135">
                  <c:v>44240</c:v>
                </c:pt>
                <c:pt idx="136">
                  <c:v>44241</c:v>
                </c:pt>
                <c:pt idx="137">
                  <c:v>44242</c:v>
                </c:pt>
                <c:pt idx="138">
                  <c:v>44243</c:v>
                </c:pt>
                <c:pt idx="139">
                  <c:v>44244</c:v>
                </c:pt>
                <c:pt idx="140">
                  <c:v>44245</c:v>
                </c:pt>
                <c:pt idx="141">
                  <c:v>44246</c:v>
                </c:pt>
                <c:pt idx="142">
                  <c:v>44247</c:v>
                </c:pt>
                <c:pt idx="143">
                  <c:v>44248</c:v>
                </c:pt>
                <c:pt idx="144">
                  <c:v>44249</c:v>
                </c:pt>
                <c:pt idx="145">
                  <c:v>44250</c:v>
                </c:pt>
                <c:pt idx="146">
                  <c:v>44251</c:v>
                </c:pt>
                <c:pt idx="147">
                  <c:v>44252</c:v>
                </c:pt>
                <c:pt idx="148">
                  <c:v>44253</c:v>
                </c:pt>
                <c:pt idx="149">
                  <c:v>44254</c:v>
                </c:pt>
                <c:pt idx="150">
                  <c:v>44255</c:v>
                </c:pt>
                <c:pt idx="151">
                  <c:v>44256</c:v>
                </c:pt>
                <c:pt idx="152">
                  <c:v>44257</c:v>
                </c:pt>
                <c:pt idx="153">
                  <c:v>44258</c:v>
                </c:pt>
                <c:pt idx="154">
                  <c:v>44259</c:v>
                </c:pt>
                <c:pt idx="155">
                  <c:v>44260</c:v>
                </c:pt>
                <c:pt idx="156">
                  <c:v>44261</c:v>
                </c:pt>
                <c:pt idx="157">
                  <c:v>44262</c:v>
                </c:pt>
                <c:pt idx="158">
                  <c:v>44263</c:v>
                </c:pt>
                <c:pt idx="159">
                  <c:v>44264</c:v>
                </c:pt>
                <c:pt idx="160">
                  <c:v>44265</c:v>
                </c:pt>
                <c:pt idx="161">
                  <c:v>44266</c:v>
                </c:pt>
                <c:pt idx="162">
                  <c:v>44267</c:v>
                </c:pt>
                <c:pt idx="163">
                  <c:v>44268</c:v>
                </c:pt>
                <c:pt idx="164">
                  <c:v>44269</c:v>
                </c:pt>
                <c:pt idx="165">
                  <c:v>44270</c:v>
                </c:pt>
                <c:pt idx="166">
                  <c:v>44271</c:v>
                </c:pt>
                <c:pt idx="167">
                  <c:v>44272</c:v>
                </c:pt>
                <c:pt idx="168">
                  <c:v>44273</c:v>
                </c:pt>
                <c:pt idx="169">
                  <c:v>44274</c:v>
                </c:pt>
                <c:pt idx="170">
                  <c:v>44275</c:v>
                </c:pt>
                <c:pt idx="171">
                  <c:v>44276</c:v>
                </c:pt>
                <c:pt idx="172">
                  <c:v>44277</c:v>
                </c:pt>
                <c:pt idx="173">
                  <c:v>44278</c:v>
                </c:pt>
                <c:pt idx="174">
                  <c:v>44279</c:v>
                </c:pt>
                <c:pt idx="175">
                  <c:v>44280</c:v>
                </c:pt>
                <c:pt idx="176">
                  <c:v>44281</c:v>
                </c:pt>
                <c:pt idx="177">
                  <c:v>44282</c:v>
                </c:pt>
                <c:pt idx="178">
                  <c:v>44283</c:v>
                </c:pt>
              </c:numCache>
            </c:numRef>
          </c:cat>
          <c:val>
            <c:numRef>
              <c:f>Sheet1!$B$2:$B$993</c:f>
              <c:numCache>
                <c:formatCode>General</c:formatCode>
                <c:ptCount val="992"/>
                <c:pt idx="0">
                  <c:v>52</c:v>
                </c:pt>
                <c:pt idx="1">
                  <c:v>52</c:v>
                </c:pt>
                <c:pt idx="2">
                  <c:v>52</c:v>
                </c:pt>
                <c:pt idx="3">
                  <c:v>52</c:v>
                </c:pt>
                <c:pt idx="4">
                  <c:v>57</c:v>
                </c:pt>
                <c:pt idx="5">
                  <c:v>57</c:v>
                </c:pt>
                <c:pt idx="6">
                  <c:v>62</c:v>
                </c:pt>
                <c:pt idx="7">
                  <c:v>70</c:v>
                </c:pt>
                <c:pt idx="8">
                  <c:v>70</c:v>
                </c:pt>
                <c:pt idx="9">
                  <c:v>80</c:v>
                </c:pt>
                <c:pt idx="10">
                  <c:v>80</c:v>
                </c:pt>
                <c:pt idx="11">
                  <c:v>78</c:v>
                </c:pt>
                <c:pt idx="12">
                  <c:v>78</c:v>
                </c:pt>
                <c:pt idx="13">
                  <c:v>83</c:v>
                </c:pt>
                <c:pt idx="14">
                  <c:v>83</c:v>
                </c:pt>
                <c:pt idx="15">
                  <c:v>86</c:v>
                </c:pt>
                <c:pt idx="16">
                  <c:v>86</c:v>
                </c:pt>
                <c:pt idx="17">
                  <c:v>86</c:v>
                </c:pt>
                <c:pt idx="18">
                  <c:v>86</c:v>
                </c:pt>
                <c:pt idx="19">
                  <c:v>81</c:v>
                </c:pt>
                <c:pt idx="20">
                  <c:v>85</c:v>
                </c:pt>
                <c:pt idx="21">
                  <c:v>85</c:v>
                </c:pt>
                <c:pt idx="22">
                  <c:v>85</c:v>
                </c:pt>
                <c:pt idx="23">
                  <c:v>85</c:v>
                </c:pt>
                <c:pt idx="24">
                  <c:v>85</c:v>
                </c:pt>
                <c:pt idx="25">
                  <c:v>85</c:v>
                </c:pt>
                <c:pt idx="26">
                  <c:v>89</c:v>
                </c:pt>
                <c:pt idx="27">
                  <c:v>89</c:v>
                </c:pt>
                <c:pt idx="28">
                  <c:v>84</c:v>
                </c:pt>
                <c:pt idx="29">
                  <c:v>84</c:v>
                </c:pt>
                <c:pt idx="30">
                  <c:v>84</c:v>
                </c:pt>
                <c:pt idx="31">
                  <c:v>79</c:v>
                </c:pt>
                <c:pt idx="32">
                  <c:v>79</c:v>
                </c:pt>
                <c:pt idx="33">
                  <c:v>77</c:v>
                </c:pt>
                <c:pt idx="34">
                  <c:v>77</c:v>
                </c:pt>
                <c:pt idx="35">
                  <c:v>77</c:v>
                </c:pt>
                <c:pt idx="36">
                  <c:v>77</c:v>
                </c:pt>
                <c:pt idx="37">
                  <c:v>77</c:v>
                </c:pt>
                <c:pt idx="38">
                  <c:v>77</c:v>
                </c:pt>
                <c:pt idx="39">
                  <c:v>75</c:v>
                </c:pt>
                <c:pt idx="40">
                  <c:v>75</c:v>
                </c:pt>
                <c:pt idx="41">
                  <c:v>75</c:v>
                </c:pt>
                <c:pt idx="42">
                  <c:v>70</c:v>
                </c:pt>
                <c:pt idx="43">
                  <c:v>70</c:v>
                </c:pt>
                <c:pt idx="44">
                  <c:v>70</c:v>
                </c:pt>
                <c:pt idx="45">
                  <c:v>70</c:v>
                </c:pt>
                <c:pt idx="46">
                  <c:v>70</c:v>
                </c:pt>
                <c:pt idx="47">
                  <c:v>70</c:v>
                </c:pt>
                <c:pt idx="48">
                  <c:v>70</c:v>
                </c:pt>
                <c:pt idx="49">
                  <c:v>62</c:v>
                </c:pt>
                <c:pt idx="50">
                  <c:v>62</c:v>
                </c:pt>
                <c:pt idx="51">
                  <c:v>62</c:v>
                </c:pt>
                <c:pt idx="52">
                  <c:v>62</c:v>
                </c:pt>
                <c:pt idx="53">
                  <c:v>57</c:v>
                </c:pt>
                <c:pt idx="54">
                  <c:v>57</c:v>
                </c:pt>
                <c:pt idx="55">
                  <c:v>57</c:v>
                </c:pt>
                <c:pt idx="56">
                  <c:v>57</c:v>
                </c:pt>
                <c:pt idx="57">
                  <c:v>57</c:v>
                </c:pt>
                <c:pt idx="58">
                  <c:v>57</c:v>
                </c:pt>
                <c:pt idx="59">
                  <c:v>57</c:v>
                </c:pt>
                <c:pt idx="60">
                  <c:v>57</c:v>
                </c:pt>
                <c:pt idx="61">
                  <c:v>57</c:v>
                </c:pt>
                <c:pt idx="62">
                  <c:v>57</c:v>
                </c:pt>
                <c:pt idx="63">
                  <c:v>57</c:v>
                </c:pt>
                <c:pt idx="64">
                  <c:v>57</c:v>
                </c:pt>
                <c:pt idx="65">
                  <c:v>57</c:v>
                </c:pt>
                <c:pt idx="66">
                  <c:v>62</c:v>
                </c:pt>
                <c:pt idx="67">
                  <c:v>64</c:v>
                </c:pt>
                <c:pt idx="68">
                  <c:v>64</c:v>
                </c:pt>
                <c:pt idx="69">
                  <c:v>64</c:v>
                </c:pt>
                <c:pt idx="70">
                  <c:v>64</c:v>
                </c:pt>
                <c:pt idx="71">
                  <c:v>64</c:v>
                </c:pt>
                <c:pt idx="72">
                  <c:v>69</c:v>
                </c:pt>
                <c:pt idx="73">
                  <c:v>71</c:v>
                </c:pt>
                <c:pt idx="74">
                  <c:v>71</c:v>
                </c:pt>
                <c:pt idx="75">
                  <c:v>66</c:v>
                </c:pt>
                <c:pt idx="76">
                  <c:v>66</c:v>
                </c:pt>
                <c:pt idx="77">
                  <c:v>71</c:v>
                </c:pt>
                <c:pt idx="78">
                  <c:v>76</c:v>
                </c:pt>
                <c:pt idx="79">
                  <c:v>76</c:v>
                </c:pt>
                <c:pt idx="80">
                  <c:v>76</c:v>
                </c:pt>
                <c:pt idx="81">
                  <c:v>76</c:v>
                </c:pt>
                <c:pt idx="82">
                  <c:v>76</c:v>
                </c:pt>
                <c:pt idx="83">
                  <c:v>81</c:v>
                </c:pt>
                <c:pt idx="84">
                  <c:v>81</c:v>
                </c:pt>
                <c:pt idx="85">
                  <c:v>81</c:v>
                </c:pt>
                <c:pt idx="86">
                  <c:v>76</c:v>
                </c:pt>
                <c:pt idx="87">
                  <c:v>71</c:v>
                </c:pt>
                <c:pt idx="88">
                  <c:v>71</c:v>
                </c:pt>
                <c:pt idx="89">
                  <c:v>71</c:v>
                </c:pt>
                <c:pt idx="90">
                  <c:v>80</c:v>
                </c:pt>
                <c:pt idx="91">
                  <c:v>80</c:v>
                </c:pt>
                <c:pt idx="92">
                  <c:v>90</c:v>
                </c:pt>
                <c:pt idx="93">
                  <c:v>90</c:v>
                </c:pt>
                <c:pt idx="94">
                  <c:v>90</c:v>
                </c:pt>
                <c:pt idx="95">
                  <c:v>85</c:v>
                </c:pt>
                <c:pt idx="96">
                  <c:v>89</c:v>
                </c:pt>
                <c:pt idx="97">
                  <c:v>86</c:v>
                </c:pt>
                <c:pt idx="98">
                  <c:v>86</c:v>
                </c:pt>
                <c:pt idx="99">
                  <c:v>86</c:v>
                </c:pt>
                <c:pt idx="100">
                  <c:v>89</c:v>
                </c:pt>
                <c:pt idx="101">
                  <c:v>87</c:v>
                </c:pt>
                <c:pt idx="102">
                  <c:v>84</c:v>
                </c:pt>
                <c:pt idx="103">
                  <c:v>84</c:v>
                </c:pt>
                <c:pt idx="104">
                  <c:v>81</c:v>
                </c:pt>
                <c:pt idx="105">
                  <c:v>75</c:v>
                </c:pt>
                <c:pt idx="106">
                  <c:v>72</c:v>
                </c:pt>
                <c:pt idx="107">
                  <c:v>72</c:v>
                </c:pt>
                <c:pt idx="108">
                  <c:v>70</c:v>
                </c:pt>
                <c:pt idx="109">
                  <c:v>70</c:v>
                </c:pt>
                <c:pt idx="110">
                  <c:v>70</c:v>
                </c:pt>
                <c:pt idx="111">
                  <c:v>73</c:v>
                </c:pt>
                <c:pt idx="112">
                  <c:v>73</c:v>
                </c:pt>
                <c:pt idx="113">
                  <c:v>73</c:v>
                </c:pt>
                <c:pt idx="114">
                  <c:v>69</c:v>
                </c:pt>
                <c:pt idx="115">
                  <c:v>69</c:v>
                </c:pt>
                <c:pt idx="116">
                  <c:v>72</c:v>
                </c:pt>
                <c:pt idx="117">
                  <c:v>68</c:v>
                </c:pt>
                <c:pt idx="118">
                  <c:v>68</c:v>
                </c:pt>
                <c:pt idx="119">
                  <c:v>70</c:v>
                </c:pt>
                <c:pt idx="120">
                  <c:v>70</c:v>
                </c:pt>
                <c:pt idx="121">
                  <c:v>70</c:v>
                </c:pt>
                <c:pt idx="122">
                  <c:v>70</c:v>
                </c:pt>
                <c:pt idx="123">
                  <c:v>73</c:v>
                </c:pt>
                <c:pt idx="124">
                  <c:v>73</c:v>
                </c:pt>
                <c:pt idx="125">
                  <c:v>70</c:v>
                </c:pt>
                <c:pt idx="126">
                  <c:v>71</c:v>
                </c:pt>
                <c:pt idx="127">
                  <c:v>71</c:v>
                </c:pt>
                <c:pt idx="128">
                  <c:v>71</c:v>
                </c:pt>
                <c:pt idx="129">
                  <c:v>71</c:v>
                </c:pt>
                <c:pt idx="130">
                  <c:v>71</c:v>
                </c:pt>
                <c:pt idx="131">
                  <c:v>71</c:v>
                </c:pt>
                <c:pt idx="132">
                  <c:v>71</c:v>
                </c:pt>
                <c:pt idx="133">
                  <c:v>71</c:v>
                </c:pt>
                <c:pt idx="134">
                  <c:v>71</c:v>
                </c:pt>
                <c:pt idx="135">
                  <c:v>73</c:v>
                </c:pt>
                <c:pt idx="136">
                  <c:v>77</c:v>
                </c:pt>
                <c:pt idx="137">
                  <c:v>77</c:v>
                </c:pt>
                <c:pt idx="138">
                  <c:v>77</c:v>
                </c:pt>
                <c:pt idx="139">
                  <c:v>77</c:v>
                </c:pt>
                <c:pt idx="140">
                  <c:v>75</c:v>
                </c:pt>
                <c:pt idx="141">
                  <c:v>80</c:v>
                </c:pt>
                <c:pt idx="142">
                  <c:v>80</c:v>
                </c:pt>
                <c:pt idx="143">
                  <c:v>80</c:v>
                </c:pt>
                <c:pt idx="144">
                  <c:v>80</c:v>
                </c:pt>
                <c:pt idx="145">
                  <c:v>82</c:v>
                </c:pt>
                <c:pt idx="146">
                  <c:v>75</c:v>
                </c:pt>
                <c:pt idx="147">
                  <c:v>82</c:v>
                </c:pt>
                <c:pt idx="148">
                  <c:v>82</c:v>
                </c:pt>
                <c:pt idx="149">
                  <c:v>78</c:v>
                </c:pt>
                <c:pt idx="150">
                  <c:v>79</c:v>
                </c:pt>
                <c:pt idx="151">
                  <c:v>79</c:v>
                </c:pt>
                <c:pt idx="152">
                  <c:v>79</c:v>
                </c:pt>
                <c:pt idx="153">
                  <c:v>76</c:v>
                </c:pt>
                <c:pt idx="154">
                  <c:v>76</c:v>
                </c:pt>
                <c:pt idx="155">
                  <c:v>76</c:v>
                </c:pt>
                <c:pt idx="156">
                  <c:v>76</c:v>
                </c:pt>
                <c:pt idx="157">
                  <c:v>76</c:v>
                </c:pt>
                <c:pt idx="158">
                  <c:v>76</c:v>
                </c:pt>
                <c:pt idx="159">
                  <c:v>73</c:v>
                </c:pt>
                <c:pt idx="160">
                  <c:v>73</c:v>
                </c:pt>
                <c:pt idx="161">
                  <c:v>73</c:v>
                </c:pt>
                <c:pt idx="162">
                  <c:v>73</c:v>
                </c:pt>
                <c:pt idx="163">
                  <c:v>73</c:v>
                </c:pt>
                <c:pt idx="164">
                  <c:v>71</c:v>
                </c:pt>
                <c:pt idx="165">
                  <c:v>71</c:v>
                </c:pt>
                <c:pt idx="166">
                  <c:v>71</c:v>
                </c:pt>
                <c:pt idx="167">
                  <c:v>71</c:v>
                </c:pt>
                <c:pt idx="168">
                  <c:v>71</c:v>
                </c:pt>
                <c:pt idx="169">
                  <c:v>71</c:v>
                </c:pt>
                <c:pt idx="170">
                  <c:v>68</c:v>
                </c:pt>
                <c:pt idx="171">
                  <c:v>68</c:v>
                </c:pt>
                <c:pt idx="172">
                  <c:v>68</c:v>
                </c:pt>
                <c:pt idx="173">
                  <c:v>64</c:v>
                </c:pt>
                <c:pt idx="174">
                  <c:v>64</c:v>
                </c:pt>
                <c:pt idx="175">
                  <c:v>59</c:v>
                </c:pt>
                <c:pt idx="176">
                  <c:v>59</c:v>
                </c:pt>
                <c:pt idx="177">
                  <c:v>56</c:v>
                </c:pt>
                <c:pt idx="178">
                  <c:v>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8CC-409A-A0F9-813371FF08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4862472"/>
        <c:axId val="414859336"/>
      </c:lineChart>
      <c:dateAx>
        <c:axId val="4148624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numFmt formatCode="d/m/;@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59336"/>
        <c:crosses val="autoZero"/>
        <c:auto val="1"/>
        <c:lblOffset val="100"/>
        <c:baseTimeUnit val="days"/>
        <c:majorUnit val="7"/>
        <c:majorTimeUnit val="days"/>
      </c:dateAx>
      <c:valAx>
        <c:axId val="4148593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6247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65_14_100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7"/>
            <c:invertIfNegative val="0"/>
            <c:bubble3D val="0"/>
            <c:spPr>
              <a:solidFill>
                <a:srgbClr val="D3114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DE8-4AB5-9170-4C2D1F005839}"/>
              </c:ext>
            </c:extLst>
          </c:dPt>
          <c:dPt>
            <c:idx val="8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DE8-4AB5-9170-4C2D1F005839}"/>
              </c:ext>
            </c:extLst>
          </c:dPt>
          <c:dPt>
            <c:idx val="9"/>
            <c:invertIfNegative val="0"/>
            <c:bubble3D val="0"/>
            <c:spPr>
              <a:solidFill>
                <a:srgbClr val="305983"/>
              </a:solidFill>
              <a:ln>
                <a:solidFill>
                  <a:srgbClr val="30598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DE8-4AB5-9170-4C2D1F005839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27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VK</c:v>
                </c:pt>
                <c:pt idx="1">
                  <c:v>ZLK</c:v>
                </c:pt>
                <c:pt idx="2">
                  <c:v>HKK</c:v>
                </c:pt>
                <c:pt idx="3">
                  <c:v>MSK</c:v>
                </c:pt>
                <c:pt idx="4">
                  <c:v>PHA</c:v>
                </c:pt>
                <c:pt idx="5">
                  <c:v>JMK</c:v>
                </c:pt>
                <c:pt idx="6">
                  <c:v>OLK</c:v>
                </c:pt>
                <c:pt idx="7">
                  <c:v>ČR</c:v>
                </c:pt>
                <c:pt idx="8">
                  <c:v>VYS</c:v>
                </c:pt>
                <c:pt idx="9">
                  <c:v>PLK</c:v>
                </c:pt>
                <c:pt idx="10">
                  <c:v>STC</c:v>
                </c:pt>
                <c:pt idx="11">
                  <c:v>PAK</c:v>
                </c:pt>
                <c:pt idx="12">
                  <c:v>LBK</c:v>
                </c:pt>
                <c:pt idx="13">
                  <c:v>JHC</c:v>
                </c:pt>
                <c:pt idx="14">
                  <c:v>ULK</c:v>
                </c:pt>
              </c:strCache>
            </c:strRef>
          </c:cat>
          <c:val>
            <c:numRef>
              <c:f>Sheet1!$B$2:$B$16</c:f>
              <c:numCache>
                <c:formatCode>#,##0.00</c:formatCode>
                <c:ptCount val="15"/>
                <c:pt idx="0">
                  <c:v>531.76</c:v>
                </c:pt>
                <c:pt idx="1">
                  <c:v>602.44000000000005</c:v>
                </c:pt>
                <c:pt idx="2">
                  <c:v>608</c:v>
                </c:pt>
                <c:pt idx="3">
                  <c:v>693.02</c:v>
                </c:pt>
                <c:pt idx="4">
                  <c:v>739.75</c:v>
                </c:pt>
                <c:pt idx="5">
                  <c:v>740.51</c:v>
                </c:pt>
                <c:pt idx="6">
                  <c:v>770.61</c:v>
                </c:pt>
                <c:pt idx="7">
                  <c:v>824.35</c:v>
                </c:pt>
                <c:pt idx="8">
                  <c:v>848.59</c:v>
                </c:pt>
                <c:pt idx="9">
                  <c:v>884.79</c:v>
                </c:pt>
                <c:pt idx="10">
                  <c:v>939.7</c:v>
                </c:pt>
                <c:pt idx="11">
                  <c:v>940.76</c:v>
                </c:pt>
                <c:pt idx="12">
                  <c:v>1042.2</c:v>
                </c:pt>
                <c:pt idx="13">
                  <c:v>1045.27</c:v>
                </c:pt>
                <c:pt idx="14">
                  <c:v>1128.5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DE8-4AB5-9170-4C2D1F0058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1119328496"/>
        <c:axId val="1423693200"/>
      </c:barChart>
      <c:catAx>
        <c:axId val="1119328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23693200"/>
        <c:crosses val="autoZero"/>
        <c:auto val="1"/>
        <c:lblAlgn val="ctr"/>
        <c:lblOffset val="100"/>
        <c:noMultiLvlLbl val="0"/>
      </c:catAx>
      <c:valAx>
        <c:axId val="1423693200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1193284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odil_zachycen_hosp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CC6-4D38-B05A-FC4D28077962}"/>
              </c:ext>
            </c:extLst>
          </c:dPt>
          <c:dPt>
            <c:idx val="6"/>
            <c:invertIfNegative val="0"/>
            <c:bubble3D val="0"/>
            <c:spPr>
              <a:solidFill>
                <a:srgbClr val="D3114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4D0D-4E15-B2B2-17FFAB75C148}"/>
              </c:ext>
            </c:extLst>
          </c:dPt>
          <c:dPt>
            <c:idx val="7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BCC6-4D38-B05A-FC4D28077962}"/>
              </c:ext>
            </c:extLst>
          </c:dPt>
          <c:dPt>
            <c:idx val="8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CC6-4D38-B05A-FC4D28077962}"/>
              </c:ext>
            </c:extLst>
          </c:dPt>
          <c:dPt>
            <c:idx val="9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FBDE-4510-8333-A7D9A5D40BD5}"/>
              </c:ext>
            </c:extLst>
          </c:dPt>
          <c:dPt>
            <c:idx val="11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CC6-4D38-B05A-FC4D28077962}"/>
              </c:ext>
            </c:extLst>
          </c:dPt>
          <c:dPt>
            <c:idx val="12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CC6-4D38-B05A-FC4D28077962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-27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PHA</c:v>
                </c:pt>
                <c:pt idx="1">
                  <c:v>ZLK</c:v>
                </c:pt>
                <c:pt idx="2">
                  <c:v>KVK</c:v>
                </c:pt>
                <c:pt idx="3">
                  <c:v>STC</c:v>
                </c:pt>
                <c:pt idx="4">
                  <c:v>JHC</c:v>
                </c:pt>
                <c:pt idx="5">
                  <c:v>MSK</c:v>
                </c:pt>
                <c:pt idx="6">
                  <c:v>ČR</c:v>
                </c:pt>
                <c:pt idx="7">
                  <c:v>HKK</c:v>
                </c:pt>
                <c:pt idx="8">
                  <c:v>JMK</c:v>
                </c:pt>
                <c:pt idx="9">
                  <c:v>PAK</c:v>
                </c:pt>
                <c:pt idx="10">
                  <c:v>ULK</c:v>
                </c:pt>
                <c:pt idx="11">
                  <c:v>VYS</c:v>
                </c:pt>
                <c:pt idx="12">
                  <c:v>LBK</c:v>
                </c:pt>
                <c:pt idx="13">
                  <c:v>OLK</c:v>
                </c:pt>
                <c:pt idx="14">
                  <c:v>PLK</c:v>
                </c:pt>
              </c:strCache>
            </c:strRef>
          </c:cat>
          <c:val>
            <c:numRef>
              <c:f>Sheet1!$B$2:$B$16</c:f>
              <c:numCache>
                <c:formatCode>#,##0.00</c:formatCode>
                <c:ptCount val="15"/>
                <c:pt idx="0">
                  <c:v>0.31</c:v>
                </c:pt>
                <c:pt idx="1">
                  <c:v>0.32</c:v>
                </c:pt>
                <c:pt idx="2">
                  <c:v>0.35</c:v>
                </c:pt>
                <c:pt idx="3">
                  <c:v>0.38</c:v>
                </c:pt>
                <c:pt idx="4">
                  <c:v>0.38</c:v>
                </c:pt>
                <c:pt idx="5">
                  <c:v>0.39</c:v>
                </c:pt>
                <c:pt idx="6">
                  <c:v>0.39</c:v>
                </c:pt>
                <c:pt idx="7">
                  <c:v>0.4</c:v>
                </c:pt>
                <c:pt idx="8">
                  <c:v>0.4</c:v>
                </c:pt>
                <c:pt idx="9">
                  <c:v>0.4</c:v>
                </c:pt>
                <c:pt idx="10">
                  <c:v>0.4</c:v>
                </c:pt>
                <c:pt idx="11">
                  <c:v>0.44</c:v>
                </c:pt>
                <c:pt idx="12">
                  <c:v>0.47</c:v>
                </c:pt>
                <c:pt idx="13">
                  <c:v>0.47</c:v>
                </c:pt>
                <c:pt idx="14">
                  <c:v>0.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CC6-4D38-B05A-FC4D280779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1119328496"/>
        <c:axId val="1423693200"/>
      </c:barChart>
      <c:catAx>
        <c:axId val="1119328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23693200"/>
        <c:crosses val="autoZero"/>
        <c:auto val="1"/>
        <c:lblAlgn val="ctr"/>
        <c:lblOffset val="100"/>
        <c:noMultiLvlLbl val="0"/>
      </c:catAx>
      <c:valAx>
        <c:axId val="1423693200"/>
        <c:scaling>
          <c:orientation val="minMax"/>
        </c:scaling>
        <c:delete val="0"/>
        <c:axPos val="l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1193284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impleR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5B3-426A-9721-7358D8167592}"/>
              </c:ext>
            </c:extLst>
          </c:dPt>
          <c:dPt>
            <c:idx val="5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845B-47F4-AFC4-ECFC4719D780}"/>
              </c:ext>
            </c:extLst>
          </c:dPt>
          <c:dPt>
            <c:idx val="6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5B3-426A-9721-7358D8167592}"/>
              </c:ext>
            </c:extLst>
          </c:dPt>
          <c:dPt>
            <c:idx val="7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05B3-426A-9721-7358D8167592}"/>
              </c:ext>
            </c:extLst>
          </c:dPt>
          <c:dPt>
            <c:idx val="8"/>
            <c:invertIfNegative val="0"/>
            <c:bubble3D val="0"/>
            <c:spPr>
              <a:solidFill>
                <a:srgbClr val="D3114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5B3-426A-9721-7358D8167592}"/>
              </c:ext>
            </c:extLst>
          </c:dPt>
          <c:dPt>
            <c:idx val="9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05B3-426A-9721-7358D8167592}"/>
              </c:ext>
            </c:extLst>
          </c:dPt>
          <c:dPt>
            <c:idx val="10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05B3-426A-9721-7358D8167592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-27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VK</c:v>
                </c:pt>
                <c:pt idx="1">
                  <c:v>PLK</c:v>
                </c:pt>
                <c:pt idx="2">
                  <c:v>HKK</c:v>
                </c:pt>
                <c:pt idx="3">
                  <c:v>PHA</c:v>
                </c:pt>
                <c:pt idx="4">
                  <c:v>STC</c:v>
                </c:pt>
                <c:pt idx="5">
                  <c:v>OLK</c:v>
                </c:pt>
                <c:pt idx="6">
                  <c:v>JHC</c:v>
                </c:pt>
                <c:pt idx="7">
                  <c:v>LBK</c:v>
                </c:pt>
                <c:pt idx="8">
                  <c:v>ČR</c:v>
                </c:pt>
                <c:pt idx="9">
                  <c:v>PAK</c:v>
                </c:pt>
                <c:pt idx="10">
                  <c:v>JMK</c:v>
                </c:pt>
                <c:pt idx="11">
                  <c:v>ULK</c:v>
                </c:pt>
                <c:pt idx="12">
                  <c:v>VYS</c:v>
                </c:pt>
                <c:pt idx="13">
                  <c:v>MSK</c:v>
                </c:pt>
                <c:pt idx="14">
                  <c:v>ZLK</c:v>
                </c:pt>
              </c:strCache>
            </c:strRef>
          </c:cat>
          <c:val>
            <c:numRef>
              <c:f>Sheet1!$B$2:$B$16</c:f>
              <c:numCache>
                <c:formatCode>#,##0.00</c:formatCode>
                <c:ptCount val="15"/>
                <c:pt idx="0">
                  <c:v>0.51</c:v>
                </c:pt>
                <c:pt idx="1">
                  <c:v>0.68</c:v>
                </c:pt>
                <c:pt idx="2">
                  <c:v>0.72</c:v>
                </c:pt>
                <c:pt idx="3">
                  <c:v>0.75</c:v>
                </c:pt>
                <c:pt idx="4">
                  <c:v>0.76</c:v>
                </c:pt>
                <c:pt idx="5">
                  <c:v>0.78</c:v>
                </c:pt>
                <c:pt idx="6">
                  <c:v>0.78</c:v>
                </c:pt>
                <c:pt idx="7">
                  <c:v>0.79</c:v>
                </c:pt>
                <c:pt idx="8">
                  <c:v>0.8</c:v>
                </c:pt>
                <c:pt idx="9">
                  <c:v>0.81</c:v>
                </c:pt>
                <c:pt idx="10">
                  <c:v>0.83</c:v>
                </c:pt>
                <c:pt idx="11">
                  <c:v>0.84</c:v>
                </c:pt>
                <c:pt idx="12">
                  <c:v>0.89</c:v>
                </c:pt>
                <c:pt idx="13">
                  <c:v>0.92</c:v>
                </c:pt>
                <c:pt idx="14">
                  <c:v>0.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05B3-426A-9721-7358D81675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1119328496"/>
        <c:axId val="1423693200"/>
      </c:barChart>
      <c:catAx>
        <c:axId val="1119328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23693200"/>
        <c:crosses val="autoZero"/>
        <c:auto val="1"/>
        <c:lblAlgn val="ctr"/>
        <c:lblOffset val="100"/>
        <c:noMultiLvlLbl val="0"/>
      </c:catAx>
      <c:valAx>
        <c:axId val="1423693200"/>
        <c:scaling>
          <c:orientation val="minMax"/>
        </c:scaling>
        <c:delete val="0"/>
        <c:axPos val="l"/>
        <c:numFmt formatCode="#,##0.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1193284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14_100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8793-472D-8346-6F6BF5D8FBF1}"/>
              </c:ext>
            </c:extLst>
          </c:dPt>
          <c:dPt>
            <c:idx val="7"/>
            <c:invertIfNegative val="0"/>
            <c:bubble3D val="0"/>
            <c:spPr>
              <a:solidFill>
                <a:srgbClr val="D3114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097-4EFC-9372-672CCEC2E298}"/>
              </c:ext>
            </c:extLst>
          </c:dPt>
          <c:dPt>
            <c:idx val="8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6C5-4684-BF5F-BF64B5231763}"/>
              </c:ext>
            </c:extLst>
          </c:dPt>
          <c:dPt>
            <c:idx val="9"/>
            <c:invertIfNegative val="0"/>
            <c:bubble3D val="0"/>
            <c:spPr>
              <a:solidFill>
                <a:srgbClr val="3059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6C5-4684-BF5F-BF64B5231763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27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VK</c:v>
                </c:pt>
                <c:pt idx="1">
                  <c:v>HKK</c:v>
                </c:pt>
                <c:pt idx="2">
                  <c:v>ZLK</c:v>
                </c:pt>
                <c:pt idx="3">
                  <c:v>MSK</c:v>
                </c:pt>
                <c:pt idx="4">
                  <c:v>PHA</c:v>
                </c:pt>
                <c:pt idx="5">
                  <c:v>JMK</c:v>
                </c:pt>
                <c:pt idx="6">
                  <c:v>OLK</c:v>
                </c:pt>
                <c:pt idx="7">
                  <c:v>ČR</c:v>
                </c:pt>
                <c:pt idx="8">
                  <c:v>VYS</c:v>
                </c:pt>
                <c:pt idx="9">
                  <c:v>PLK</c:v>
                </c:pt>
                <c:pt idx="10">
                  <c:v>STC</c:v>
                </c:pt>
                <c:pt idx="11">
                  <c:v>PAK</c:v>
                </c:pt>
                <c:pt idx="12">
                  <c:v>LBK</c:v>
                </c:pt>
                <c:pt idx="13">
                  <c:v>ULK</c:v>
                </c:pt>
                <c:pt idx="14">
                  <c:v>JHC</c:v>
                </c:pt>
              </c:strCache>
            </c:strRef>
          </c:cat>
          <c:val>
            <c:numRef>
              <c:f>Sheet1!$B$2:$B$16</c:f>
              <c:numCache>
                <c:formatCode>#,##0.00</c:formatCode>
                <c:ptCount val="15"/>
                <c:pt idx="0">
                  <c:v>529.76</c:v>
                </c:pt>
                <c:pt idx="1">
                  <c:v>787.64</c:v>
                </c:pt>
                <c:pt idx="2">
                  <c:v>812.63</c:v>
                </c:pt>
                <c:pt idx="3">
                  <c:v>905.26</c:v>
                </c:pt>
                <c:pt idx="4">
                  <c:v>916.27</c:v>
                </c:pt>
                <c:pt idx="5">
                  <c:v>950.09</c:v>
                </c:pt>
                <c:pt idx="6">
                  <c:v>1002.82</c:v>
                </c:pt>
                <c:pt idx="7">
                  <c:v>1083</c:v>
                </c:pt>
                <c:pt idx="8">
                  <c:v>1191.81</c:v>
                </c:pt>
                <c:pt idx="9">
                  <c:v>1200.21</c:v>
                </c:pt>
                <c:pt idx="10">
                  <c:v>1263.48</c:v>
                </c:pt>
                <c:pt idx="11">
                  <c:v>1309.45</c:v>
                </c:pt>
                <c:pt idx="12">
                  <c:v>1364.69</c:v>
                </c:pt>
                <c:pt idx="13">
                  <c:v>1408.83</c:v>
                </c:pt>
                <c:pt idx="14">
                  <c:v>1424.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6C5-4684-BF5F-BF64B52317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1119328496"/>
        <c:axId val="1423693200"/>
      </c:barChart>
      <c:catAx>
        <c:axId val="1119328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23693200"/>
        <c:crosses val="autoZero"/>
        <c:auto val="1"/>
        <c:lblAlgn val="ctr"/>
        <c:lblOffset val="100"/>
        <c:noMultiLvlLbl val="0"/>
      </c:catAx>
      <c:valAx>
        <c:axId val="1423693200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1193284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65+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05</c:f>
              <c:numCache>
                <c:formatCode>m/d/yyyy</c:formatCode>
                <c:ptCount val="204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</c:numCache>
            </c:numRef>
          </c:cat>
          <c:val>
            <c:numRef>
              <c:f>Sheet1!$B$2:$B$205</c:f>
              <c:numCache>
                <c:formatCode>General</c:formatCode>
                <c:ptCount val="204"/>
                <c:pt idx="0">
                  <c:v>913</c:v>
                </c:pt>
                <c:pt idx="1">
                  <c:v>887</c:v>
                </c:pt>
                <c:pt idx="2">
                  <c:v>828</c:v>
                </c:pt>
                <c:pt idx="3">
                  <c:v>883</c:v>
                </c:pt>
                <c:pt idx="4">
                  <c:v>644</c:v>
                </c:pt>
                <c:pt idx="5">
                  <c:v>225</c:v>
                </c:pt>
                <c:pt idx="6">
                  <c:v>835</c:v>
                </c:pt>
                <c:pt idx="7">
                  <c:v>1043</c:v>
                </c:pt>
                <c:pt idx="8">
                  <c:v>1125</c:v>
                </c:pt>
                <c:pt idx="9">
                  <c:v>1000</c:v>
                </c:pt>
                <c:pt idx="10">
                  <c:v>1017</c:v>
                </c:pt>
                <c:pt idx="11">
                  <c:v>610</c:v>
                </c:pt>
                <c:pt idx="12">
                  <c:v>354</c:v>
                </c:pt>
                <c:pt idx="13">
                  <c:v>984</c:v>
                </c:pt>
                <c:pt idx="14">
                  <c:v>1178</c:v>
                </c:pt>
                <c:pt idx="15">
                  <c:v>1318</c:v>
                </c:pt>
                <c:pt idx="16">
                  <c:v>1167</c:v>
                </c:pt>
                <c:pt idx="17">
                  <c:v>1361</c:v>
                </c:pt>
                <c:pt idx="18">
                  <c:v>766</c:v>
                </c:pt>
                <c:pt idx="19">
                  <c:v>535</c:v>
                </c:pt>
                <c:pt idx="20">
                  <c:v>1353</c:v>
                </c:pt>
                <c:pt idx="21">
                  <c:v>1692</c:v>
                </c:pt>
                <c:pt idx="22">
                  <c:v>2090</c:v>
                </c:pt>
                <c:pt idx="23">
                  <c:v>647</c:v>
                </c:pt>
                <c:pt idx="24">
                  <c:v>529</c:v>
                </c:pt>
                <c:pt idx="25">
                  <c:v>610</c:v>
                </c:pt>
                <c:pt idx="26">
                  <c:v>676</c:v>
                </c:pt>
                <c:pt idx="27">
                  <c:v>1827</c:v>
                </c:pt>
                <c:pt idx="28">
                  <c:v>2536</c:v>
                </c:pt>
                <c:pt idx="29">
                  <c:v>2832</c:v>
                </c:pt>
                <c:pt idx="30">
                  <c:v>2280</c:v>
                </c:pt>
                <c:pt idx="31">
                  <c:v>755</c:v>
                </c:pt>
                <c:pt idx="32">
                  <c:v>1085</c:v>
                </c:pt>
                <c:pt idx="33">
                  <c:v>1163</c:v>
                </c:pt>
                <c:pt idx="34">
                  <c:v>2413</c:v>
                </c:pt>
                <c:pt idx="35">
                  <c:v>3136</c:v>
                </c:pt>
                <c:pt idx="36">
                  <c:v>3164</c:v>
                </c:pt>
                <c:pt idx="37">
                  <c:v>2944</c:v>
                </c:pt>
                <c:pt idx="38">
                  <c:v>2665</c:v>
                </c:pt>
                <c:pt idx="39">
                  <c:v>1664</c:v>
                </c:pt>
                <c:pt idx="40">
                  <c:v>813</c:v>
                </c:pt>
                <c:pt idx="41">
                  <c:v>1860</c:v>
                </c:pt>
                <c:pt idx="42">
                  <c:v>2027</c:v>
                </c:pt>
                <c:pt idx="43">
                  <c:v>2008</c:v>
                </c:pt>
                <c:pt idx="44">
                  <c:v>1496</c:v>
                </c:pt>
                <c:pt idx="45">
                  <c:v>1772</c:v>
                </c:pt>
                <c:pt idx="46">
                  <c:v>921</c:v>
                </c:pt>
                <c:pt idx="47">
                  <c:v>507</c:v>
                </c:pt>
                <c:pt idx="48">
                  <c:v>1340</c:v>
                </c:pt>
                <c:pt idx="49">
                  <c:v>1594</c:v>
                </c:pt>
                <c:pt idx="50">
                  <c:v>1487</c:v>
                </c:pt>
                <c:pt idx="51">
                  <c:v>1326</c:v>
                </c:pt>
                <c:pt idx="52">
                  <c:v>1478</c:v>
                </c:pt>
                <c:pt idx="53">
                  <c:v>723</c:v>
                </c:pt>
                <c:pt idx="54">
                  <c:v>411</c:v>
                </c:pt>
                <c:pt idx="55">
                  <c:v>1239</c:v>
                </c:pt>
                <c:pt idx="56">
                  <c:v>1411</c:v>
                </c:pt>
                <c:pt idx="57">
                  <c:v>1444</c:v>
                </c:pt>
                <c:pt idx="58">
                  <c:v>1327</c:v>
                </c:pt>
                <c:pt idx="59">
                  <c:v>1333</c:v>
                </c:pt>
                <c:pt idx="60">
                  <c:v>665</c:v>
                </c:pt>
                <c:pt idx="61">
                  <c:v>449</c:v>
                </c:pt>
                <c:pt idx="62">
                  <c:v>1202</c:v>
                </c:pt>
                <c:pt idx="63">
                  <c:v>1438</c:v>
                </c:pt>
                <c:pt idx="64">
                  <c:v>1432</c:v>
                </c:pt>
                <c:pt idx="65">
                  <c:v>1328</c:v>
                </c:pt>
                <c:pt idx="66">
                  <c:v>1412</c:v>
                </c:pt>
                <c:pt idx="67">
                  <c:v>771</c:v>
                </c:pt>
                <c:pt idx="68">
                  <c:v>448</c:v>
                </c:pt>
                <c:pt idx="69">
                  <c:v>1122</c:v>
                </c:pt>
                <c:pt idx="70">
                  <c:v>1466</c:v>
                </c:pt>
                <c:pt idx="71">
                  <c:v>1383</c:v>
                </c:pt>
                <c:pt idx="72">
                  <c:v>1387</c:v>
                </c:pt>
                <c:pt idx="73">
                  <c:v>1328</c:v>
                </c:pt>
                <c:pt idx="74">
                  <c:v>728</c:v>
                </c:pt>
                <c:pt idx="75">
                  <c:v>457</c:v>
                </c:pt>
                <c:pt idx="76">
                  <c:v>1302</c:v>
                </c:pt>
                <c:pt idx="77">
                  <c:v>1761</c:v>
                </c:pt>
                <c:pt idx="78">
                  <c:v>1459</c:v>
                </c:pt>
                <c:pt idx="79">
                  <c:v>1600</c:v>
                </c:pt>
                <c:pt idx="80">
                  <c:v>1717</c:v>
                </c:pt>
                <c:pt idx="81">
                  <c:v>945</c:v>
                </c:pt>
                <c:pt idx="82">
                  <c:v>581</c:v>
                </c:pt>
                <c:pt idx="83">
                  <c:v>1634</c:v>
                </c:pt>
                <c:pt idx="84">
                  <c:v>2109</c:v>
                </c:pt>
                <c:pt idx="85">
                  <c:v>1928</c:v>
                </c:pt>
                <c:pt idx="86">
                  <c:v>2007</c:v>
                </c:pt>
                <c:pt idx="87">
                  <c:v>2094</c:v>
                </c:pt>
                <c:pt idx="88">
                  <c:v>1051</c:v>
                </c:pt>
                <c:pt idx="89">
                  <c:v>658</c:v>
                </c:pt>
                <c:pt idx="90">
                  <c:v>1851</c:v>
                </c:pt>
                <c:pt idx="91">
                  <c:v>2400</c:v>
                </c:pt>
                <c:pt idx="92">
                  <c:v>2169</c:v>
                </c:pt>
                <c:pt idx="93">
                  <c:v>2054</c:v>
                </c:pt>
                <c:pt idx="94">
                  <c:v>1878</c:v>
                </c:pt>
                <c:pt idx="95">
                  <c:v>1310</c:v>
                </c:pt>
                <c:pt idx="96">
                  <c:v>645</c:v>
                </c:pt>
                <c:pt idx="97">
                  <c:v>1545</c:v>
                </c:pt>
                <c:pt idx="98">
                  <c:v>1985</c:v>
                </c:pt>
                <c:pt idx="99">
                  <c:v>2016</c:v>
                </c:pt>
                <c:pt idx="100">
                  <c:v>1628</c:v>
                </c:pt>
                <c:pt idx="101">
                  <c:v>2249</c:v>
                </c:pt>
                <c:pt idx="102">
                  <c:v>980</c:v>
                </c:pt>
                <c:pt idx="103">
                  <c:v>542</c:v>
                </c:pt>
                <c:pt idx="104">
                  <c:v>1624</c:v>
                </c:pt>
                <c:pt idx="105">
                  <c:v>2052</c:v>
                </c:pt>
                <c:pt idx="106">
                  <c:v>1787</c:v>
                </c:pt>
                <c:pt idx="107">
                  <c:v>1587</c:v>
                </c:pt>
                <c:pt idx="108">
                  <c:v>1429</c:v>
                </c:pt>
                <c:pt idx="109">
                  <c:v>845</c:v>
                </c:pt>
                <c:pt idx="110">
                  <c:v>441</c:v>
                </c:pt>
                <c:pt idx="111">
                  <c:v>1214</c:v>
                </c:pt>
                <c:pt idx="112">
                  <c:v>1623</c:v>
                </c:pt>
                <c:pt idx="113">
                  <c:v>1317</c:v>
                </c:pt>
                <c:pt idx="114">
                  <c:v>1296</c:v>
                </c:pt>
                <c:pt idx="115">
                  <c:v>1174</c:v>
                </c:pt>
                <c:pt idx="116">
                  <c:v>6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3E3-4E01-AEBE-2747C918C3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4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75+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05</c:f>
              <c:numCache>
                <c:formatCode>m/d/yyyy</c:formatCode>
                <c:ptCount val="204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</c:numCache>
            </c:numRef>
          </c:cat>
          <c:val>
            <c:numRef>
              <c:f>Sheet1!$B$2:$B$205</c:f>
              <c:numCache>
                <c:formatCode>General</c:formatCode>
                <c:ptCount val="204"/>
                <c:pt idx="0">
                  <c:v>457</c:v>
                </c:pt>
                <c:pt idx="1">
                  <c:v>462</c:v>
                </c:pt>
                <c:pt idx="2">
                  <c:v>443</c:v>
                </c:pt>
                <c:pt idx="3">
                  <c:v>444</c:v>
                </c:pt>
                <c:pt idx="4">
                  <c:v>333</c:v>
                </c:pt>
                <c:pt idx="5">
                  <c:v>119</c:v>
                </c:pt>
                <c:pt idx="6">
                  <c:v>460</c:v>
                </c:pt>
                <c:pt idx="7">
                  <c:v>528</c:v>
                </c:pt>
                <c:pt idx="8">
                  <c:v>559</c:v>
                </c:pt>
                <c:pt idx="9">
                  <c:v>477</c:v>
                </c:pt>
                <c:pt idx="10">
                  <c:v>506</c:v>
                </c:pt>
                <c:pt idx="11">
                  <c:v>281</c:v>
                </c:pt>
                <c:pt idx="12">
                  <c:v>203</c:v>
                </c:pt>
                <c:pt idx="13">
                  <c:v>509</c:v>
                </c:pt>
                <c:pt idx="14">
                  <c:v>537</c:v>
                </c:pt>
                <c:pt idx="15">
                  <c:v>624</c:v>
                </c:pt>
                <c:pt idx="16">
                  <c:v>517</c:v>
                </c:pt>
                <c:pt idx="17">
                  <c:v>566</c:v>
                </c:pt>
                <c:pt idx="18">
                  <c:v>317</c:v>
                </c:pt>
                <c:pt idx="19">
                  <c:v>233</c:v>
                </c:pt>
                <c:pt idx="20">
                  <c:v>613</c:v>
                </c:pt>
                <c:pt idx="21">
                  <c:v>642</c:v>
                </c:pt>
                <c:pt idx="22">
                  <c:v>870</c:v>
                </c:pt>
                <c:pt idx="23">
                  <c:v>280</c:v>
                </c:pt>
                <c:pt idx="24">
                  <c:v>276</c:v>
                </c:pt>
                <c:pt idx="25">
                  <c:v>312</c:v>
                </c:pt>
                <c:pt idx="26">
                  <c:v>341</c:v>
                </c:pt>
                <c:pt idx="27">
                  <c:v>818</c:v>
                </c:pt>
                <c:pt idx="28">
                  <c:v>947</c:v>
                </c:pt>
                <c:pt idx="29">
                  <c:v>1210</c:v>
                </c:pt>
                <c:pt idx="30">
                  <c:v>902</c:v>
                </c:pt>
                <c:pt idx="31">
                  <c:v>377</c:v>
                </c:pt>
                <c:pt idx="32">
                  <c:v>518</c:v>
                </c:pt>
                <c:pt idx="33">
                  <c:v>537</c:v>
                </c:pt>
                <c:pt idx="34">
                  <c:v>970</c:v>
                </c:pt>
                <c:pt idx="35">
                  <c:v>1316</c:v>
                </c:pt>
                <c:pt idx="36">
                  <c:v>1370</c:v>
                </c:pt>
                <c:pt idx="37">
                  <c:v>1341</c:v>
                </c:pt>
                <c:pt idx="38">
                  <c:v>1145</c:v>
                </c:pt>
                <c:pt idx="39">
                  <c:v>770</c:v>
                </c:pt>
                <c:pt idx="40">
                  <c:v>398</c:v>
                </c:pt>
                <c:pt idx="41">
                  <c:v>862</c:v>
                </c:pt>
                <c:pt idx="42">
                  <c:v>903</c:v>
                </c:pt>
                <c:pt idx="43">
                  <c:v>917</c:v>
                </c:pt>
                <c:pt idx="44">
                  <c:v>691</c:v>
                </c:pt>
                <c:pt idx="45">
                  <c:v>813</c:v>
                </c:pt>
                <c:pt idx="46">
                  <c:v>448</c:v>
                </c:pt>
                <c:pt idx="47">
                  <c:v>267</c:v>
                </c:pt>
                <c:pt idx="48">
                  <c:v>647</c:v>
                </c:pt>
                <c:pt idx="49">
                  <c:v>695</c:v>
                </c:pt>
                <c:pt idx="50">
                  <c:v>709</c:v>
                </c:pt>
                <c:pt idx="51">
                  <c:v>652</c:v>
                </c:pt>
                <c:pt idx="52">
                  <c:v>664</c:v>
                </c:pt>
                <c:pt idx="53">
                  <c:v>324</c:v>
                </c:pt>
                <c:pt idx="54">
                  <c:v>212</c:v>
                </c:pt>
                <c:pt idx="55">
                  <c:v>615</c:v>
                </c:pt>
                <c:pt idx="56">
                  <c:v>639</c:v>
                </c:pt>
                <c:pt idx="57">
                  <c:v>674</c:v>
                </c:pt>
                <c:pt idx="58">
                  <c:v>649</c:v>
                </c:pt>
                <c:pt idx="59">
                  <c:v>569</c:v>
                </c:pt>
                <c:pt idx="60">
                  <c:v>290</c:v>
                </c:pt>
                <c:pt idx="61">
                  <c:v>211</c:v>
                </c:pt>
                <c:pt idx="62">
                  <c:v>522</c:v>
                </c:pt>
                <c:pt idx="63">
                  <c:v>627</c:v>
                </c:pt>
                <c:pt idx="64">
                  <c:v>615</c:v>
                </c:pt>
                <c:pt idx="65">
                  <c:v>605</c:v>
                </c:pt>
                <c:pt idx="66">
                  <c:v>608</c:v>
                </c:pt>
                <c:pt idx="67">
                  <c:v>359</c:v>
                </c:pt>
                <c:pt idx="68">
                  <c:v>210</c:v>
                </c:pt>
                <c:pt idx="69">
                  <c:v>455</c:v>
                </c:pt>
                <c:pt idx="70">
                  <c:v>657</c:v>
                </c:pt>
                <c:pt idx="71">
                  <c:v>553</c:v>
                </c:pt>
                <c:pt idx="72">
                  <c:v>580</c:v>
                </c:pt>
                <c:pt idx="73">
                  <c:v>567</c:v>
                </c:pt>
                <c:pt idx="74">
                  <c:v>293</c:v>
                </c:pt>
                <c:pt idx="75">
                  <c:v>208</c:v>
                </c:pt>
                <c:pt idx="76">
                  <c:v>557</c:v>
                </c:pt>
                <c:pt idx="77">
                  <c:v>719</c:v>
                </c:pt>
                <c:pt idx="78">
                  <c:v>601</c:v>
                </c:pt>
                <c:pt idx="79">
                  <c:v>646</c:v>
                </c:pt>
                <c:pt idx="80">
                  <c:v>742</c:v>
                </c:pt>
                <c:pt idx="81">
                  <c:v>378</c:v>
                </c:pt>
                <c:pt idx="82">
                  <c:v>285</c:v>
                </c:pt>
                <c:pt idx="83">
                  <c:v>697</c:v>
                </c:pt>
                <c:pt idx="84">
                  <c:v>848</c:v>
                </c:pt>
                <c:pt idx="85">
                  <c:v>752</c:v>
                </c:pt>
                <c:pt idx="86">
                  <c:v>811</c:v>
                </c:pt>
                <c:pt idx="87">
                  <c:v>813</c:v>
                </c:pt>
                <c:pt idx="88">
                  <c:v>409</c:v>
                </c:pt>
                <c:pt idx="89">
                  <c:v>283</c:v>
                </c:pt>
                <c:pt idx="90">
                  <c:v>774</c:v>
                </c:pt>
                <c:pt idx="91">
                  <c:v>918</c:v>
                </c:pt>
                <c:pt idx="92">
                  <c:v>855</c:v>
                </c:pt>
                <c:pt idx="93">
                  <c:v>747</c:v>
                </c:pt>
                <c:pt idx="94">
                  <c:v>715</c:v>
                </c:pt>
                <c:pt idx="95">
                  <c:v>532</c:v>
                </c:pt>
                <c:pt idx="96">
                  <c:v>294</c:v>
                </c:pt>
                <c:pt idx="97">
                  <c:v>587</c:v>
                </c:pt>
                <c:pt idx="98">
                  <c:v>738</c:v>
                </c:pt>
                <c:pt idx="99">
                  <c:v>751</c:v>
                </c:pt>
                <c:pt idx="100">
                  <c:v>642</c:v>
                </c:pt>
                <c:pt idx="101">
                  <c:v>853</c:v>
                </c:pt>
                <c:pt idx="102">
                  <c:v>373</c:v>
                </c:pt>
                <c:pt idx="103">
                  <c:v>223</c:v>
                </c:pt>
                <c:pt idx="104">
                  <c:v>662</c:v>
                </c:pt>
                <c:pt idx="105">
                  <c:v>766</c:v>
                </c:pt>
                <c:pt idx="106">
                  <c:v>673</c:v>
                </c:pt>
                <c:pt idx="107">
                  <c:v>602</c:v>
                </c:pt>
                <c:pt idx="108">
                  <c:v>526</c:v>
                </c:pt>
                <c:pt idx="109">
                  <c:v>356</c:v>
                </c:pt>
                <c:pt idx="110">
                  <c:v>194</c:v>
                </c:pt>
                <c:pt idx="111">
                  <c:v>466</c:v>
                </c:pt>
                <c:pt idx="112">
                  <c:v>619</c:v>
                </c:pt>
                <c:pt idx="113">
                  <c:v>486</c:v>
                </c:pt>
                <c:pt idx="114">
                  <c:v>494</c:v>
                </c:pt>
                <c:pt idx="115">
                  <c:v>441</c:v>
                </c:pt>
                <c:pt idx="116">
                  <c:v>2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76-49FE-B670-84E03C12A6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2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8.03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611130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75702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67622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09548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56246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29566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686633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06631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svg"/><Relationship Id="rId5" Type="http://schemas.openxmlformats.org/officeDocument/2006/relationships/image" Target="../media/image15.png"/><Relationship Id="rId4" Type="http://schemas.openxmlformats.org/officeDocument/2006/relationships/image" Target="../media/image8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8.png"/><Relationship Id="rId5" Type="http://schemas.openxmlformats.org/officeDocument/2006/relationships/image" Target="../media/image5.svg"/><Relationship Id="rId4" Type="http://schemas.openxmlformats.org/officeDocument/2006/relationships/image" Target="../media/image17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8.png"/><Relationship Id="rId5" Type="http://schemas.openxmlformats.org/officeDocument/2006/relationships/image" Target="../media/image5.svg"/><Relationship Id="rId4" Type="http://schemas.openxmlformats.org/officeDocument/2006/relationships/image" Target="../media/image17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8.png"/><Relationship Id="rId5" Type="http://schemas.openxmlformats.org/officeDocument/2006/relationships/image" Target="../media/image5.svg"/><Relationship Id="rId4" Type="http://schemas.openxmlformats.org/officeDocument/2006/relationships/image" Target="../media/image17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8.sv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8.png"/><Relationship Id="rId5" Type="http://schemas.openxmlformats.org/officeDocument/2006/relationships/image" Target="../media/image5.svg"/><Relationship Id="rId4" Type="http://schemas.openxmlformats.org/officeDocument/2006/relationships/image" Target="../media/image17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svg"/><Relationship Id="rId5" Type="http://schemas.openxmlformats.org/officeDocument/2006/relationships/image" Target="../media/image15.png"/><Relationship Id="rId4" Type="http://schemas.openxmlformats.org/officeDocument/2006/relationships/image" Target="../media/image8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3.svg"/><Relationship Id="rId5" Type="http://schemas.openxmlformats.org/officeDocument/2006/relationships/image" Target="../media/image13.png"/><Relationship Id="rId4" Type="http://schemas.openxmlformats.org/officeDocument/2006/relationships/image" Target="../media/image9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4096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28.03.2021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095704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91461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67649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12680697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145830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1818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4471385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68931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9982045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31778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2250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8.03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701635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3169696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8.03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7429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7888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rázek 31">
            <a:extLst>
              <a:ext uri="{FF2B5EF4-FFF2-40B4-BE49-F238E27FC236}">
                <a16:creationId xmlns:a16="http://schemas.microsoft.com/office/drawing/2014/main" id="{195036A3-2C0E-4CFE-A711-5BBB07E7B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84000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7" name="TextovéPole 16"/>
          <p:cNvSpPr txBox="1"/>
          <p:nvPr userDrawn="1"/>
        </p:nvSpPr>
        <p:spPr>
          <a:xfrm>
            <a:off x="2788357" y="151329"/>
            <a:ext cx="848924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Národní koordinační centrum programů časného záchytu onemocnění I CZ.03.2.63/0.0/0.0/15_039/0006904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ová základna realizace screeningových programů CZ.03.2.63/0.0/0.0/15_039/0007216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88470AF-D48F-470D-AEEF-9666AC0B61BB}"/>
              </a:ext>
            </a:extLst>
          </p:cNvPr>
          <p:cNvGrpSpPr/>
          <p:nvPr userDrawn="1"/>
        </p:nvGrpSpPr>
        <p:grpSpPr>
          <a:xfrm>
            <a:off x="972000" y="99405"/>
            <a:ext cx="2394526" cy="521285"/>
            <a:chOff x="-3635511" y="3808741"/>
            <a:chExt cx="2394526" cy="521285"/>
          </a:xfrm>
        </p:grpSpPr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7C156A95-99FD-463F-A7F7-8DFAEC399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4A16176F-E232-43A6-B00C-47517659318E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58CEEB2-107C-4552-B3EE-55408A9AA3DD}"/>
              </a:ext>
            </a:extLst>
          </p:cNvPr>
          <p:cNvSpPr txBox="1"/>
          <p:nvPr userDrawn="1"/>
        </p:nvSpPr>
        <p:spPr>
          <a:xfrm>
            <a:off x="1636734" y="6269165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9DC5116B-C626-40A9-A244-031AB6F780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  <p:pic>
        <p:nvPicPr>
          <p:cNvPr id="28" name="Grafický objekt 13">
            <a:extLst>
              <a:ext uri="{FF2B5EF4-FFF2-40B4-BE49-F238E27FC236}">
                <a16:creationId xmlns:a16="http://schemas.microsoft.com/office/drawing/2014/main" id="{C250F949-DEEF-49A4-8BDC-56E499AC99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360842" y="6300157"/>
            <a:ext cx="2859158" cy="2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58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31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196756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9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724F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28.03.2021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61788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jpeg"/><Relationship Id="rId5" Type="http://schemas.openxmlformats.org/officeDocument/2006/relationships/theme" Target="../theme/theme2.xml"/><Relationship Id="rId10" Type="http://schemas.openxmlformats.org/officeDocument/2006/relationships/image" Target="../media/image13.sv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10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image" Target="../media/image5.svg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8.svg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15.xml"/><Relationship Id="rId15" Type="http://schemas.openxmlformats.org/officeDocument/2006/relationships/image" Target="../media/image6.png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8.03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  <p:sldLayoutId id="2147483680" r:id="rId5"/>
    <p:sldLayoutId id="2147483681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24000" y="764707"/>
            <a:ext cx="109440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8B41E4C-7C53-49D1-A6A7-BADC85A98B77}"/>
              </a:ext>
            </a:extLst>
          </p:cNvPr>
          <p:cNvSpPr/>
          <p:nvPr userDrawn="1"/>
        </p:nvSpPr>
        <p:spPr>
          <a:xfrm>
            <a:off x="0" y="6272892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0964C23-7502-44A3-900C-38F4C522DDF7}"/>
              </a:ext>
            </a:extLst>
          </p:cNvPr>
          <p:cNvGrpSpPr/>
          <p:nvPr userDrawn="1"/>
        </p:nvGrpSpPr>
        <p:grpSpPr>
          <a:xfrm>
            <a:off x="439358" y="6370574"/>
            <a:ext cx="2266057" cy="421394"/>
            <a:chOff x="-1238301" y="3808742"/>
            <a:chExt cx="2266057" cy="421394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CDBD5828-5EFB-4A41-A797-93B2FC7F04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238301" y="3808742"/>
              <a:ext cx="612000" cy="410232"/>
            </a:xfrm>
            <a:prstGeom prst="rect">
              <a:avLst/>
            </a:prstGeom>
          </p:spPr>
        </p:pic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772FED2F-5B03-4031-96D4-0C82449E52B0}"/>
                </a:ext>
              </a:extLst>
            </p:cNvPr>
            <p:cNvSpPr txBox="1"/>
            <p:nvPr userDrawn="1"/>
          </p:nvSpPr>
          <p:spPr>
            <a:xfrm>
              <a:off x="-685691" y="3814638"/>
              <a:ext cx="171344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7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8" name="Obrázek 17">
            <a:extLst>
              <a:ext uri="{FF2B5EF4-FFF2-40B4-BE49-F238E27FC236}">
                <a16:creationId xmlns:a16="http://schemas.microsoft.com/office/drawing/2014/main" id="{D3A64A3E-5CE1-4373-9488-123DE518BFF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168" y="6395690"/>
            <a:ext cx="1563511" cy="360000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813C5B4A-5521-4F74-8DBB-23F3AD5174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432" y="6395690"/>
            <a:ext cx="545828" cy="360000"/>
          </a:xfrm>
          <a:prstGeom prst="rect">
            <a:avLst/>
          </a:prstGeom>
        </p:spPr>
      </p:pic>
      <p:pic>
        <p:nvPicPr>
          <p:cNvPr id="23" name="Grafický objekt 13">
            <a:extLst>
              <a:ext uri="{FF2B5EF4-FFF2-40B4-BE49-F238E27FC236}">
                <a16:creationId xmlns:a16="http://schemas.microsoft.com/office/drawing/2014/main" id="{4CAC0E8A-9294-4088-87D2-D875E5895AD2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9125012" y="6472776"/>
            <a:ext cx="2627630" cy="22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38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724F77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33160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702" r:id="rId9"/>
    <p:sldLayoutId id="2147483703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tags" Target="../tags/tag24.xml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tags" Target="../tags/tag23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5" Type="http://schemas.openxmlformats.org/officeDocument/2006/relationships/tags" Target="../tags/tag16.xml"/><Relationship Id="rId15" Type="http://schemas.openxmlformats.org/officeDocument/2006/relationships/notesSlide" Target="../notesSlides/notesSlide2.xml"/><Relationship Id="rId10" Type="http://schemas.openxmlformats.org/officeDocument/2006/relationships/tags" Target="../tags/tag21.xml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8.xml"/><Relationship Id="rId3" Type="http://schemas.openxmlformats.org/officeDocument/2006/relationships/tags" Target="../tags/tag27.xml"/><Relationship Id="rId7" Type="http://schemas.openxmlformats.org/officeDocument/2006/relationships/slideLayout" Target="../slideLayouts/slideLayout15.xml"/><Relationship Id="rId12" Type="http://schemas.openxmlformats.org/officeDocument/2006/relationships/chart" Target="../charts/chart14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chart" Target="../charts/chart13.xml"/><Relationship Id="rId5" Type="http://schemas.openxmlformats.org/officeDocument/2006/relationships/tags" Target="../tags/tag29.xml"/><Relationship Id="rId10" Type="http://schemas.openxmlformats.org/officeDocument/2006/relationships/chart" Target="../charts/chart12.xml"/><Relationship Id="rId4" Type="http://schemas.openxmlformats.org/officeDocument/2006/relationships/tags" Target="../tags/tag28.xml"/><Relationship Id="rId9" Type="http://schemas.openxmlformats.org/officeDocument/2006/relationships/chart" Target="../charts/char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.xml"/><Relationship Id="rId4" Type="http://schemas.openxmlformats.org/officeDocument/2006/relationships/image" Target="../media/image20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tags" Target="../tags/tag8.xml"/><Relationship Id="rId7" Type="http://schemas.openxmlformats.org/officeDocument/2006/relationships/chart" Target="../charts/chart4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6.xml"/><Relationship Id="rId10" Type="http://schemas.openxmlformats.org/officeDocument/2006/relationships/chart" Target="../charts/chart7.xml"/><Relationship Id="rId4" Type="http://schemas.openxmlformats.org/officeDocument/2006/relationships/tags" Target="../tags/tag9.xml"/><Relationship Id="rId9" Type="http://schemas.openxmlformats.org/officeDocument/2006/relationships/chart" Target="../charts/char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graphicFrame>
        <p:nvGraphicFramePr>
          <p:cNvPr id="12" name="Tabulka 4">
            <a:extLst>
              <a:ext uri="{FF2B5EF4-FFF2-40B4-BE49-F238E27FC236}">
                <a16:creationId xmlns:a16="http://schemas.microsoft.com/office/drawing/2014/main" id="{21DFD46F-FE60-4242-A38E-4F1622BF4C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0631536"/>
              </p:ext>
            </p:extLst>
          </p:nvPr>
        </p:nvGraphicFramePr>
        <p:xfrm>
          <a:off x="424200" y="4023587"/>
          <a:ext cx="11343600" cy="166897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343600">
                  <a:extLst>
                    <a:ext uri="{9D8B030D-6E8A-4147-A177-3AD203B41FA5}">
                      <a16:colId xmlns:a16="http://schemas.microsoft.com/office/drawing/2014/main" val="264965848"/>
                    </a:ext>
                  </a:extLst>
                </a:gridCol>
              </a:tblGrid>
              <a:tr h="983177">
                <a:tc>
                  <a:txBody>
                    <a:bodyPr/>
                    <a:lstStyle/>
                    <a:p>
                      <a:pPr algn="ctr"/>
                      <a:r>
                        <a:rPr lang="cs-CZ" sz="5400" b="1"/>
                        <a:t>Stručný souhrn stávajícího stavu</a:t>
                      </a:r>
                      <a:endParaRPr lang="cs-CZ" dirty="0"/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34059818"/>
                  </a:ext>
                </a:extLst>
              </a:tr>
              <a:tr h="5672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3900" b="1" i="1"/>
                        <a:t>- dne 28.03.2021 -</a:t>
                      </a:r>
                      <a:endParaRPr lang="cs-CZ" sz="3900" b="1" i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199065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518593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6371768" cy="576000"/>
          </a:xfrm>
        </p:spPr>
        <p:txBody>
          <a:bodyPr/>
          <a:lstStyle/>
          <a:p>
            <a:r>
              <a:rPr lang="cs-CZ" dirty="0"/>
              <a:t>Typologie pozitivních případů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F65D85B-1235-470B-97CB-79FE65D6B769}"/>
              </a:ext>
            </a:extLst>
          </p:cNvPr>
          <p:cNvCxnSpPr/>
          <p:nvPr/>
        </p:nvCxnSpPr>
        <p:spPr>
          <a:xfrm>
            <a:off x="6053207" y="809564"/>
            <a:ext cx="11502" cy="470883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9" name="Table 5">
            <a:extLst>
              <a:ext uri="{FF2B5EF4-FFF2-40B4-BE49-F238E27FC236}">
                <a16:creationId xmlns:a16="http://schemas.microsoft.com/office/drawing/2014/main" id="{4C358DBA-C609-4E22-B609-9374B9D332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5398717"/>
              </p:ext>
            </p:extLst>
          </p:nvPr>
        </p:nvGraphicFramePr>
        <p:xfrm>
          <a:off x="285832" y="547721"/>
          <a:ext cx="6043581" cy="5683390"/>
        </p:xfrm>
        <a:graphic>
          <a:graphicData uri="http://schemas.openxmlformats.org/drawingml/2006/table">
            <a:tbl>
              <a:tblPr/>
              <a:tblGrid>
                <a:gridCol w="741874">
                  <a:extLst>
                    <a:ext uri="{9D8B030D-6E8A-4147-A177-3AD203B41FA5}">
                      <a16:colId xmlns:a16="http://schemas.microsoft.com/office/drawing/2014/main" val="2010222896"/>
                    </a:ext>
                  </a:extLst>
                </a:gridCol>
                <a:gridCol w="269320">
                  <a:extLst>
                    <a:ext uri="{9D8B030D-6E8A-4147-A177-3AD203B41FA5}">
                      <a16:colId xmlns:a16="http://schemas.microsoft.com/office/drawing/2014/main" val="2380497939"/>
                    </a:ext>
                  </a:extLst>
                </a:gridCol>
                <a:gridCol w="179254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  <a:gridCol w="4853133">
                  <a:extLst>
                    <a:ext uri="{9D8B030D-6E8A-4147-A177-3AD203B41FA5}">
                      <a16:colId xmlns:a16="http://schemas.microsoft.com/office/drawing/2014/main" val="2930962357"/>
                    </a:ext>
                  </a:extLst>
                </a:gridCol>
              </a:tblGrid>
              <a:tr h="568339">
                <a:tc gridSpan="4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bdobí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4383480"/>
                  </a:ext>
                </a:extLst>
              </a:tr>
              <a:tr h="568339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03.2021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mpd="sng">
                      <a:noFill/>
                      <a:prstDash val="solid"/>
                    </a:lnL>
                    <a:lnT w="12700" cmpd="sng">
                      <a:noFill/>
                      <a:prstDash val="solid"/>
                    </a:lnT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78555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3 955 nově pozitivních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 066 nově pozitivních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3 317 (83,9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PCR - symptomatičtí N = 4 618 (50,9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symptomatičtí N = 1 756 (44,4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N = 3 107 (34,3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asymptomatičtí N = 1 561 (39,5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celkem N = 638 (16,1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1 341 (14,8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symptomatičtí N = 328 (8,3%)</a:t>
                      </a:r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asymptomatičtí konfirmovaní PCR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310 (7,8%)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grpSp>
        <p:nvGrpSpPr>
          <p:cNvPr id="41" name="Skupina 40">
            <a:extLst>
              <a:ext uri="{FF2B5EF4-FFF2-40B4-BE49-F238E27FC236}">
                <a16:creationId xmlns:a16="http://schemas.microsoft.com/office/drawing/2014/main" id="{67E718B0-D805-4F0A-A2D9-973B2454D5CD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404159" y="1743959"/>
            <a:ext cx="920978" cy="3914685"/>
            <a:chOff x="404159" y="1866838"/>
            <a:chExt cx="920978" cy="3351365"/>
          </a:xfrm>
        </p:grpSpPr>
        <p:cxnSp>
          <p:nvCxnSpPr>
            <p:cNvPr id="47" name="Connector: Elbow 27">
              <a:extLst>
                <a:ext uri="{FF2B5EF4-FFF2-40B4-BE49-F238E27FC236}">
                  <a16:creationId xmlns:a16="http://schemas.microsoft.com/office/drawing/2014/main" id="{EE1BC2F1-8FA3-4CB7-A65D-01605921EF18}"/>
                </a:ext>
              </a:extLst>
            </p:cNvPr>
            <p:cNvCxnSpPr>
              <a:cxnSpLocks/>
              <a:stCxn id="57" idx="2"/>
              <a:endCxn id="60" idx="2"/>
            </p:cNvCxnSpPr>
            <p:nvPr>
              <p:custDataLst>
                <p:tags r:id="rId9"/>
              </p:custDataLst>
            </p:nvPr>
          </p:nvCxnSpPr>
          <p:spPr>
            <a:xfrm rot="10800000" flipH="1" flipV="1">
              <a:off x="404159" y="1920837"/>
              <a:ext cx="332076" cy="2154059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Connector: Elbow 28">
              <a:extLst>
                <a:ext uri="{FF2B5EF4-FFF2-40B4-BE49-F238E27FC236}">
                  <a16:creationId xmlns:a16="http://schemas.microsoft.com/office/drawing/2014/main" id="{0A91E232-C7CE-4D15-916A-0461B3434166}"/>
                </a:ext>
              </a:extLst>
            </p:cNvPr>
            <p:cNvCxnSpPr>
              <a:cxnSpLocks/>
              <a:stCxn id="76" idx="2"/>
              <a:endCxn id="58" idx="2"/>
            </p:cNvCxnSpPr>
            <p:nvPr>
              <p:custDataLst>
                <p:tags r:id="rId10"/>
              </p:custDataLst>
            </p:nvPr>
          </p:nvCxnSpPr>
          <p:spPr>
            <a:xfrm rot="10800000" flipH="1" flipV="1">
              <a:off x="736235" y="2433231"/>
              <a:ext cx="480902" cy="553998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Connector: Elbow 29">
              <a:extLst>
                <a:ext uri="{FF2B5EF4-FFF2-40B4-BE49-F238E27FC236}">
                  <a16:creationId xmlns:a16="http://schemas.microsoft.com/office/drawing/2014/main" id="{51E69D21-290A-4C75-ABAF-6603101A1BDA}"/>
                </a:ext>
              </a:extLst>
            </p:cNvPr>
            <p:cNvCxnSpPr>
              <a:cxnSpLocks/>
              <a:stCxn id="76" idx="2"/>
              <a:endCxn id="59" idx="2"/>
            </p:cNvCxnSpPr>
            <p:nvPr/>
          </p:nvCxnSpPr>
          <p:spPr>
            <a:xfrm rot="10800000" flipH="1" flipV="1">
              <a:off x="736235" y="2433231"/>
              <a:ext cx="480902" cy="1097114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Connector: Elbow 30">
              <a:extLst>
                <a:ext uri="{FF2B5EF4-FFF2-40B4-BE49-F238E27FC236}">
                  <a16:creationId xmlns:a16="http://schemas.microsoft.com/office/drawing/2014/main" id="{D5A1B002-700B-428B-B6B2-7ABE2F7E2D5D}"/>
                </a:ext>
              </a:extLst>
            </p:cNvPr>
            <p:cNvCxnSpPr>
              <a:cxnSpLocks/>
              <a:stCxn id="60" idx="2"/>
              <a:endCxn id="74" idx="2"/>
            </p:cNvCxnSpPr>
            <p:nvPr/>
          </p:nvCxnSpPr>
          <p:spPr>
            <a:xfrm rot="10800000" flipH="1" flipV="1">
              <a:off x="736235" y="4074896"/>
              <a:ext cx="480902" cy="559153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Connector: Elbow 31">
              <a:extLst>
                <a:ext uri="{FF2B5EF4-FFF2-40B4-BE49-F238E27FC236}">
                  <a16:creationId xmlns:a16="http://schemas.microsoft.com/office/drawing/2014/main" id="{41840207-9B3F-46F3-A2A0-72EA1C5F95FC}"/>
                </a:ext>
              </a:extLst>
            </p:cNvPr>
            <p:cNvCxnSpPr>
              <a:cxnSpLocks/>
              <a:stCxn id="60" idx="2"/>
              <a:endCxn id="75" idx="2"/>
            </p:cNvCxnSpPr>
            <p:nvPr>
              <p:custDataLst>
                <p:tags r:id="rId11"/>
              </p:custDataLst>
            </p:nvPr>
          </p:nvCxnSpPr>
          <p:spPr>
            <a:xfrm rot="10800000" flipH="1" flipV="1">
              <a:off x="736235" y="4074897"/>
              <a:ext cx="480902" cy="1089306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Oval 7">
              <a:extLst>
                <a:ext uri="{FF2B5EF4-FFF2-40B4-BE49-F238E27FC236}">
                  <a16:creationId xmlns:a16="http://schemas.microsoft.com/office/drawing/2014/main" id="{DEFCBE29-8A8A-403F-87FC-6E964EECF435}"/>
                </a:ext>
              </a:extLst>
            </p:cNvPr>
            <p:cNvSpPr/>
            <p:nvPr/>
          </p:nvSpPr>
          <p:spPr>
            <a:xfrm>
              <a:off x="404159" y="1866838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8" name="Oval 36">
              <a:extLst>
                <a:ext uri="{FF2B5EF4-FFF2-40B4-BE49-F238E27FC236}">
                  <a16:creationId xmlns:a16="http://schemas.microsoft.com/office/drawing/2014/main" id="{EFB45541-6952-4AB8-8984-D4903D966A51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>
              <a:off x="1217137" y="2933229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9" name="Oval 37">
              <a:extLst>
                <a:ext uri="{FF2B5EF4-FFF2-40B4-BE49-F238E27FC236}">
                  <a16:creationId xmlns:a16="http://schemas.microsoft.com/office/drawing/2014/main" id="{2143FA77-D84E-4803-A4CF-57C6A2280DBC}"/>
                </a:ext>
              </a:extLst>
            </p:cNvPr>
            <p:cNvSpPr/>
            <p:nvPr/>
          </p:nvSpPr>
          <p:spPr>
            <a:xfrm>
              <a:off x="1217137" y="3476345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0" name="Oval 51">
              <a:extLst>
                <a:ext uri="{FF2B5EF4-FFF2-40B4-BE49-F238E27FC236}">
                  <a16:creationId xmlns:a16="http://schemas.microsoft.com/office/drawing/2014/main" id="{2C16C17A-1A40-4E38-8341-353E1F4A8244}"/>
                </a:ext>
              </a:extLst>
            </p:cNvPr>
            <p:cNvSpPr/>
            <p:nvPr/>
          </p:nvSpPr>
          <p:spPr>
            <a:xfrm>
              <a:off x="736235" y="4020897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4" name="Oval 52">
              <a:extLst>
                <a:ext uri="{FF2B5EF4-FFF2-40B4-BE49-F238E27FC236}">
                  <a16:creationId xmlns:a16="http://schemas.microsoft.com/office/drawing/2014/main" id="{A6EDEF7D-BF1B-4696-8813-4124510BFD1D}"/>
                </a:ext>
              </a:extLst>
            </p:cNvPr>
            <p:cNvSpPr/>
            <p:nvPr/>
          </p:nvSpPr>
          <p:spPr>
            <a:xfrm>
              <a:off x="1217137" y="4580050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5" name="Oval 53">
              <a:extLst>
                <a:ext uri="{FF2B5EF4-FFF2-40B4-BE49-F238E27FC236}">
                  <a16:creationId xmlns:a16="http://schemas.microsoft.com/office/drawing/2014/main" id="{43050E38-D6EA-4630-BC45-913F50C6A86D}"/>
                </a:ext>
              </a:extLst>
            </p:cNvPr>
            <p:cNvSpPr/>
            <p:nvPr/>
          </p:nvSpPr>
          <p:spPr>
            <a:xfrm>
              <a:off x="1217137" y="5110203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6" name="Oval 54">
              <a:extLst>
                <a:ext uri="{FF2B5EF4-FFF2-40B4-BE49-F238E27FC236}">
                  <a16:creationId xmlns:a16="http://schemas.microsoft.com/office/drawing/2014/main" id="{D8240F72-BDE6-4A9E-9A16-AC6F7259A476}"/>
                </a:ext>
              </a:extLst>
            </p:cNvPr>
            <p:cNvSpPr/>
            <p:nvPr/>
          </p:nvSpPr>
          <p:spPr>
            <a:xfrm>
              <a:off x="736235" y="2379231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77" name="Connector: Elbow 55">
              <a:extLst>
                <a:ext uri="{FF2B5EF4-FFF2-40B4-BE49-F238E27FC236}">
                  <a16:creationId xmlns:a16="http://schemas.microsoft.com/office/drawing/2014/main" id="{A8588F7C-BDAF-43FA-851B-A355AA22B9BB}"/>
                </a:ext>
              </a:extLst>
            </p:cNvPr>
            <p:cNvCxnSpPr>
              <a:cxnSpLocks/>
              <a:stCxn id="57" idx="2"/>
              <a:endCxn id="76" idx="2"/>
            </p:cNvCxnSpPr>
            <p:nvPr>
              <p:custDataLst>
                <p:tags r:id="rId13"/>
              </p:custDataLst>
            </p:nvPr>
          </p:nvCxnSpPr>
          <p:spPr>
            <a:xfrm rot="10800000" flipH="1" flipV="1">
              <a:off x="404159" y="1920837"/>
              <a:ext cx="332076" cy="512393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52" name="Table 5">
            <a:extLst>
              <a:ext uri="{FF2B5EF4-FFF2-40B4-BE49-F238E27FC236}">
                <a16:creationId xmlns:a16="http://schemas.microsoft.com/office/drawing/2014/main" id="{B55401BD-C3BF-414D-ADA5-5805EE6340B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0650522"/>
              </p:ext>
            </p:extLst>
          </p:nvPr>
        </p:nvGraphicFramePr>
        <p:xfrm>
          <a:off x="6312560" y="547721"/>
          <a:ext cx="5810430" cy="5683390"/>
        </p:xfrm>
        <a:graphic>
          <a:graphicData uri="http://schemas.openxmlformats.org/drawingml/2006/table">
            <a:tbl>
              <a:tblPr/>
              <a:tblGrid>
                <a:gridCol w="713254">
                  <a:extLst>
                    <a:ext uri="{9D8B030D-6E8A-4147-A177-3AD203B41FA5}">
                      <a16:colId xmlns:a16="http://schemas.microsoft.com/office/drawing/2014/main" val="2010222896"/>
                    </a:ext>
                  </a:extLst>
                </a:gridCol>
                <a:gridCol w="258930">
                  <a:extLst>
                    <a:ext uri="{9D8B030D-6E8A-4147-A177-3AD203B41FA5}">
                      <a16:colId xmlns:a16="http://schemas.microsoft.com/office/drawing/2014/main" val="2380497939"/>
                    </a:ext>
                  </a:extLst>
                </a:gridCol>
                <a:gridCol w="172339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  <a:gridCol w="4665907">
                  <a:extLst>
                    <a:ext uri="{9D8B030D-6E8A-4147-A177-3AD203B41FA5}">
                      <a16:colId xmlns:a16="http://schemas.microsoft.com/office/drawing/2014/main" val="2930962357"/>
                    </a:ext>
                  </a:extLst>
                </a:gridCol>
              </a:tblGrid>
              <a:tr h="568339">
                <a:tc gridSpan="4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bdobí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4383480"/>
                  </a:ext>
                </a:extLst>
              </a:tr>
              <a:tr h="568339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.3.2021–21.3.2021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mpd="sng">
                      <a:noFill/>
                      <a:prstDash val="solid"/>
                    </a:lnL>
                    <a:lnT w="12700" cmpd="sng">
                      <a:noFill/>
                      <a:prstDash val="solid"/>
                    </a:lnT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78555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64 873 nově pozitivních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 066 nově pozitivních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53 321 (82,2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PCR - symptomatičtí N = 4 618 (50,9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symptomatičtí N = 30 469 (47,0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N = 3 107 (34,3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asymptomatičtí N = 22 852 (35,2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celkem N = 11 552 (17,8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1 341 (14,8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symptomatičtí N = 6 161 (9,5%)</a:t>
                      </a:r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asymptomatičtí konfirmovaní PCR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5 391 (8,3%)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grpSp>
        <p:nvGrpSpPr>
          <p:cNvPr id="79" name="Skupina 78">
            <a:extLst>
              <a:ext uri="{FF2B5EF4-FFF2-40B4-BE49-F238E27FC236}">
                <a16:creationId xmlns:a16="http://schemas.microsoft.com/office/drawing/2014/main" id="{639E136A-D30A-4140-954C-C19293BC2CE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6430887" y="1743959"/>
            <a:ext cx="920978" cy="3914685"/>
            <a:chOff x="404159" y="1866838"/>
            <a:chExt cx="920978" cy="3351365"/>
          </a:xfrm>
        </p:grpSpPr>
        <p:cxnSp>
          <p:nvCxnSpPr>
            <p:cNvPr id="80" name="Connector: Elbow 27">
              <a:extLst>
                <a:ext uri="{FF2B5EF4-FFF2-40B4-BE49-F238E27FC236}">
                  <a16:creationId xmlns:a16="http://schemas.microsoft.com/office/drawing/2014/main" id="{91C1328B-5EC4-4984-AE54-D72529F04D8A}"/>
                </a:ext>
              </a:extLst>
            </p:cNvPr>
            <p:cNvCxnSpPr>
              <a:cxnSpLocks/>
              <a:stCxn id="85" idx="2"/>
              <a:endCxn id="88" idx="2"/>
            </p:cNvCxnSpPr>
            <p:nvPr>
              <p:custDataLst>
                <p:tags r:id="rId4"/>
              </p:custDataLst>
            </p:nvPr>
          </p:nvCxnSpPr>
          <p:spPr>
            <a:xfrm rot="10800000" flipH="1" flipV="1">
              <a:off x="404159" y="1920837"/>
              <a:ext cx="332076" cy="2154059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Connector: Elbow 28">
              <a:extLst>
                <a:ext uri="{FF2B5EF4-FFF2-40B4-BE49-F238E27FC236}">
                  <a16:creationId xmlns:a16="http://schemas.microsoft.com/office/drawing/2014/main" id="{84806C24-63B6-4D79-8858-483C23BF3F1A}"/>
                </a:ext>
              </a:extLst>
            </p:cNvPr>
            <p:cNvCxnSpPr>
              <a:cxnSpLocks/>
              <a:stCxn id="91" idx="2"/>
              <a:endCxn id="86" idx="2"/>
            </p:cNvCxnSpPr>
            <p:nvPr>
              <p:custDataLst>
                <p:tags r:id="rId5"/>
              </p:custDataLst>
            </p:nvPr>
          </p:nvCxnSpPr>
          <p:spPr>
            <a:xfrm rot="10800000" flipH="1" flipV="1">
              <a:off x="736235" y="2433231"/>
              <a:ext cx="480902" cy="553998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Connector: Elbow 29">
              <a:extLst>
                <a:ext uri="{FF2B5EF4-FFF2-40B4-BE49-F238E27FC236}">
                  <a16:creationId xmlns:a16="http://schemas.microsoft.com/office/drawing/2014/main" id="{F1013AC1-B9AA-4FF4-8C53-5B9908B7853C}"/>
                </a:ext>
              </a:extLst>
            </p:cNvPr>
            <p:cNvCxnSpPr>
              <a:cxnSpLocks/>
              <a:stCxn id="91" idx="2"/>
              <a:endCxn id="87" idx="2"/>
            </p:cNvCxnSpPr>
            <p:nvPr/>
          </p:nvCxnSpPr>
          <p:spPr>
            <a:xfrm rot="10800000" flipH="1" flipV="1">
              <a:off x="736235" y="2433231"/>
              <a:ext cx="480902" cy="1097114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Connector: Elbow 30">
              <a:extLst>
                <a:ext uri="{FF2B5EF4-FFF2-40B4-BE49-F238E27FC236}">
                  <a16:creationId xmlns:a16="http://schemas.microsoft.com/office/drawing/2014/main" id="{A21B547C-F9C9-46D9-BCC0-41AD6C84AB9F}"/>
                </a:ext>
              </a:extLst>
            </p:cNvPr>
            <p:cNvCxnSpPr>
              <a:cxnSpLocks/>
              <a:stCxn id="88" idx="2"/>
              <a:endCxn id="89" idx="2"/>
            </p:cNvCxnSpPr>
            <p:nvPr/>
          </p:nvCxnSpPr>
          <p:spPr>
            <a:xfrm rot="10800000" flipH="1" flipV="1">
              <a:off x="736235" y="4074896"/>
              <a:ext cx="480902" cy="559153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Connector: Elbow 31">
              <a:extLst>
                <a:ext uri="{FF2B5EF4-FFF2-40B4-BE49-F238E27FC236}">
                  <a16:creationId xmlns:a16="http://schemas.microsoft.com/office/drawing/2014/main" id="{003A88B2-3C0F-43D6-9F0B-99ED057CFFDF}"/>
                </a:ext>
              </a:extLst>
            </p:cNvPr>
            <p:cNvCxnSpPr>
              <a:cxnSpLocks/>
              <a:stCxn id="88" idx="2"/>
              <a:endCxn id="90" idx="2"/>
            </p:cNvCxnSpPr>
            <p:nvPr>
              <p:custDataLst>
                <p:tags r:id="rId6"/>
              </p:custDataLst>
            </p:nvPr>
          </p:nvCxnSpPr>
          <p:spPr>
            <a:xfrm rot="10800000" flipH="1" flipV="1">
              <a:off x="736235" y="4074897"/>
              <a:ext cx="480902" cy="1089306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Oval 7">
              <a:extLst>
                <a:ext uri="{FF2B5EF4-FFF2-40B4-BE49-F238E27FC236}">
                  <a16:creationId xmlns:a16="http://schemas.microsoft.com/office/drawing/2014/main" id="{BF48724A-7AD3-46E1-A401-506D6A041F29}"/>
                </a:ext>
              </a:extLst>
            </p:cNvPr>
            <p:cNvSpPr/>
            <p:nvPr/>
          </p:nvSpPr>
          <p:spPr>
            <a:xfrm>
              <a:off x="404159" y="1866838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6" name="Oval 36">
              <a:extLst>
                <a:ext uri="{FF2B5EF4-FFF2-40B4-BE49-F238E27FC236}">
                  <a16:creationId xmlns:a16="http://schemas.microsoft.com/office/drawing/2014/main" id="{32F493A2-F954-4465-B965-8FA41B790D9E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1217137" y="2933229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7" name="Oval 37">
              <a:extLst>
                <a:ext uri="{FF2B5EF4-FFF2-40B4-BE49-F238E27FC236}">
                  <a16:creationId xmlns:a16="http://schemas.microsoft.com/office/drawing/2014/main" id="{4C157B5A-94C3-448B-9504-14EBE360ACBE}"/>
                </a:ext>
              </a:extLst>
            </p:cNvPr>
            <p:cNvSpPr/>
            <p:nvPr/>
          </p:nvSpPr>
          <p:spPr>
            <a:xfrm>
              <a:off x="1217137" y="3476345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8" name="Oval 51">
              <a:extLst>
                <a:ext uri="{FF2B5EF4-FFF2-40B4-BE49-F238E27FC236}">
                  <a16:creationId xmlns:a16="http://schemas.microsoft.com/office/drawing/2014/main" id="{0BC273FC-0A44-4F0D-B7B7-9B5BCDFD8BFF}"/>
                </a:ext>
              </a:extLst>
            </p:cNvPr>
            <p:cNvSpPr/>
            <p:nvPr/>
          </p:nvSpPr>
          <p:spPr>
            <a:xfrm>
              <a:off x="736235" y="4020897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9" name="Oval 52">
              <a:extLst>
                <a:ext uri="{FF2B5EF4-FFF2-40B4-BE49-F238E27FC236}">
                  <a16:creationId xmlns:a16="http://schemas.microsoft.com/office/drawing/2014/main" id="{9CE7D06A-3744-4936-8F28-021DA4338E97}"/>
                </a:ext>
              </a:extLst>
            </p:cNvPr>
            <p:cNvSpPr/>
            <p:nvPr/>
          </p:nvSpPr>
          <p:spPr>
            <a:xfrm>
              <a:off x="1217137" y="4580050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0" name="Oval 53">
              <a:extLst>
                <a:ext uri="{FF2B5EF4-FFF2-40B4-BE49-F238E27FC236}">
                  <a16:creationId xmlns:a16="http://schemas.microsoft.com/office/drawing/2014/main" id="{25671CAA-8F0D-4062-9FC4-45371CD47E82}"/>
                </a:ext>
              </a:extLst>
            </p:cNvPr>
            <p:cNvSpPr/>
            <p:nvPr/>
          </p:nvSpPr>
          <p:spPr>
            <a:xfrm>
              <a:off x="1217137" y="5110203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1" name="Oval 54">
              <a:extLst>
                <a:ext uri="{FF2B5EF4-FFF2-40B4-BE49-F238E27FC236}">
                  <a16:creationId xmlns:a16="http://schemas.microsoft.com/office/drawing/2014/main" id="{26385A48-87FF-4E74-8694-4B668BA32EDD}"/>
                </a:ext>
              </a:extLst>
            </p:cNvPr>
            <p:cNvSpPr/>
            <p:nvPr/>
          </p:nvSpPr>
          <p:spPr>
            <a:xfrm>
              <a:off x="736235" y="2379231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92" name="Connector: Elbow 55">
              <a:extLst>
                <a:ext uri="{FF2B5EF4-FFF2-40B4-BE49-F238E27FC236}">
                  <a16:creationId xmlns:a16="http://schemas.microsoft.com/office/drawing/2014/main" id="{0881EE64-CAF9-42AB-A77F-B8A602A5C626}"/>
                </a:ext>
              </a:extLst>
            </p:cNvPr>
            <p:cNvCxnSpPr>
              <a:cxnSpLocks/>
              <a:stCxn id="85" idx="2"/>
              <a:endCxn id="91" idx="2"/>
            </p:cNvCxnSpPr>
            <p:nvPr>
              <p:custDataLst>
                <p:tags r:id="rId8"/>
              </p:custDataLst>
            </p:nvPr>
          </p:nvCxnSpPr>
          <p:spPr>
            <a:xfrm rot="10800000" flipH="1" flipV="1">
              <a:off x="404159" y="1920837"/>
              <a:ext cx="332076" cy="512393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1080519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501" y="1572310"/>
            <a:ext cx="11449280" cy="5285690"/>
          </a:xfrm>
          <a:prstGeom prst="rect">
            <a:avLst/>
          </a:prstGeom>
        </p:spPr>
      </p:pic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: </a:t>
            </a:r>
            <a:r>
              <a:rPr lang="cs-CZ" dirty="0"/>
              <a:t>diagnostické indikace </a:t>
            </a:r>
            <a:endParaRPr lang="cs-CZ" dirty="0">
              <a:latin typeface="+mj-lt"/>
            </a:endParaRPr>
          </a:p>
        </p:txBody>
      </p:sp>
      <p:graphicFrame>
        <p:nvGraphicFramePr>
          <p:cNvPr id="19" name="Table 13">
            <a:extLst>
              <a:ext uri="{FF2B5EF4-FFF2-40B4-BE49-F238E27FC236}">
                <a16:creationId xmlns:a16="http://schemas.microsoft.com/office/drawing/2014/main" id="{01C9936D-27C3-4179-ACEF-3C35862BDF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2529905"/>
              </p:ext>
            </p:extLst>
          </p:nvPr>
        </p:nvGraphicFramePr>
        <p:xfrm>
          <a:off x="1477052" y="509852"/>
          <a:ext cx="3153360" cy="2124916"/>
        </p:xfrm>
        <a:graphic>
          <a:graphicData uri="http://schemas.openxmlformats.org/drawingml/2006/table">
            <a:tbl>
              <a:tblPr/>
              <a:tblGrid>
                <a:gridCol w="1683484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69876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um*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cs-CZ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díl pozitivních případů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3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3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4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3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,3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3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1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
za posledních 7 dn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,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138018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: </a:t>
            </a:r>
            <a:r>
              <a:rPr lang="cs-CZ" dirty="0"/>
              <a:t>epidemiologické indikace</a:t>
            </a:r>
            <a:endParaRPr lang="cs-CZ" dirty="0">
              <a:latin typeface="+mj-lt"/>
            </a:endParaRPr>
          </a:p>
        </p:txBody>
      </p:sp>
      <p:graphicFrame>
        <p:nvGraphicFramePr>
          <p:cNvPr id="18" name="Table 13">
            <a:extLst>
              <a:ext uri="{FF2B5EF4-FFF2-40B4-BE49-F238E27FC236}">
                <a16:creationId xmlns:a16="http://schemas.microsoft.com/office/drawing/2014/main" id="{8DB6BE05-8923-40DF-83E8-97A70985D4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967290"/>
              </p:ext>
            </p:extLst>
          </p:nvPr>
        </p:nvGraphicFramePr>
        <p:xfrm>
          <a:off x="1449620" y="576002"/>
          <a:ext cx="3153360" cy="2124916"/>
        </p:xfrm>
        <a:graphic>
          <a:graphicData uri="http://schemas.openxmlformats.org/drawingml/2006/table">
            <a:tbl>
              <a:tblPr/>
              <a:tblGrid>
                <a:gridCol w="1683484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69876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um*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cs-CZ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díl pozitivních případů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3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3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4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1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3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2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3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0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
za posledních 7 dn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  <p:pic>
        <p:nvPicPr>
          <p:cNvPr id="3" name="Obráze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501" y="1481099"/>
            <a:ext cx="11449280" cy="5285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561158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: </a:t>
            </a:r>
            <a:r>
              <a:rPr lang="cs-CZ" dirty="0"/>
              <a:t>preventivní testy a komunitní testování</a:t>
            </a:r>
            <a:endParaRPr lang="cs-CZ" dirty="0">
              <a:latin typeface="+mj-lt"/>
            </a:endParaRP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3666AA6-121E-4611-A046-B6B1FA72FBC6}"/>
              </a:ext>
            </a:extLst>
          </p:cNvPr>
          <p:cNvSpPr/>
          <p:nvPr/>
        </p:nvSpPr>
        <p:spPr>
          <a:xfrm>
            <a:off x="75501" y="613655"/>
            <a:ext cx="995080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záchytů kalkulovaný z denního počtu testů: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CC555464-C1F2-4124-821F-660B522ED9C8}"/>
              </a:ext>
            </a:extLst>
          </p:cNvPr>
          <p:cNvSpPr txBox="1"/>
          <p:nvPr/>
        </p:nvSpPr>
        <p:spPr>
          <a:xfrm rot="16200000">
            <a:off x="-978817" y="3904624"/>
            <a:ext cx="2752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případů v ČR</a:t>
            </a:r>
          </a:p>
        </p:txBody>
      </p:sp>
      <p:graphicFrame>
        <p:nvGraphicFramePr>
          <p:cNvPr id="13" name="Chart 4">
            <a:extLst>
              <a:ext uri="{FF2B5EF4-FFF2-40B4-BE49-F238E27FC236}">
                <a16:creationId xmlns:a16="http://schemas.microsoft.com/office/drawing/2014/main" id="{DDCE47EF-31FF-4F5A-A8E9-CB9CFC669B6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14311691"/>
              </p:ext>
            </p:extLst>
          </p:nvPr>
        </p:nvGraphicFramePr>
        <p:xfrm>
          <a:off x="671739" y="1459764"/>
          <a:ext cx="11010187" cy="5283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8" name="Table 13">
            <a:extLst>
              <a:ext uri="{FF2B5EF4-FFF2-40B4-BE49-F238E27FC236}">
                <a16:creationId xmlns:a16="http://schemas.microsoft.com/office/drawing/2014/main" id="{C4313AC4-3220-4768-AD38-C9E4B4A7F1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9262938"/>
              </p:ext>
            </p:extLst>
          </p:nvPr>
        </p:nvGraphicFramePr>
        <p:xfrm>
          <a:off x="1403900" y="921432"/>
          <a:ext cx="3153360" cy="2124916"/>
        </p:xfrm>
        <a:graphic>
          <a:graphicData uri="http://schemas.openxmlformats.org/drawingml/2006/table">
            <a:tbl>
              <a:tblPr/>
              <a:tblGrid>
                <a:gridCol w="1683484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69876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um*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cs-CZ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díl pozitivních případů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3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3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3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3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
za posledních 7 dn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%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  <p:sp>
        <p:nvSpPr>
          <p:cNvPr id="20" name="Obdélník 19">
            <a:extLst>
              <a:ext uri="{FF2B5EF4-FFF2-40B4-BE49-F238E27FC236}">
                <a16:creationId xmlns:a16="http://schemas.microsoft.com/office/drawing/2014/main" id="{206DCB10-AA7E-4865-BDF4-B9CFC41471DE}"/>
              </a:ext>
            </a:extLst>
          </p:cNvPr>
          <p:cNvSpPr/>
          <p:nvPr/>
        </p:nvSpPr>
        <p:spPr>
          <a:xfrm>
            <a:off x="1311622" y="3048551"/>
            <a:ext cx="35464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Stav po aktualizaci dat za předchozí den.</a:t>
            </a:r>
          </a:p>
        </p:txBody>
      </p:sp>
    </p:spTree>
    <p:extLst>
      <p:ext uri="{BB962C8B-B14F-4D97-AF65-F5344CB8AC3E}">
        <p14:creationId xmlns:p14="http://schemas.microsoft.com/office/powerpoint/2010/main" val="24195433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23862" y="3931234"/>
            <a:ext cx="11344275" cy="1974265"/>
          </a:xfrm>
        </p:spPr>
        <p:txBody>
          <a:bodyPr>
            <a:normAutofit/>
          </a:bodyPr>
          <a:lstStyle/>
          <a:p>
            <a:r>
              <a:rPr lang="cs-CZ" sz="5400" b="1" dirty="0"/>
              <a:t>Realizované testy </a:t>
            </a:r>
          </a:p>
          <a:p>
            <a:r>
              <a:rPr lang="cs-CZ" sz="5400" b="1" dirty="0"/>
              <a:t>– srovnání regionů</a:t>
            </a:r>
            <a:endParaRPr lang="cs-CZ" sz="3900" b="1" i="1" dirty="0"/>
          </a:p>
        </p:txBody>
      </p:sp>
    </p:spTree>
    <p:extLst>
      <p:ext uri="{BB962C8B-B14F-4D97-AF65-F5344CB8AC3E}">
        <p14:creationId xmlns:p14="http://schemas.microsoft.com/office/powerpoint/2010/main" val="351736888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6371768" cy="576000"/>
          </a:xfrm>
        </p:spPr>
        <p:txBody>
          <a:bodyPr/>
          <a:lstStyle/>
          <a:p>
            <a:r>
              <a:rPr lang="cs-CZ" dirty="0"/>
              <a:t>Vývoj objemu testů ve srovnání posledních tří dnů </a:t>
            </a:r>
          </a:p>
        </p:txBody>
      </p:sp>
      <p:graphicFrame>
        <p:nvGraphicFramePr>
          <p:cNvPr id="12" name="Table 7">
            <a:extLst>
              <a:ext uri="{FF2B5EF4-FFF2-40B4-BE49-F238E27FC236}">
                <a16:creationId xmlns:a16="http://schemas.microsoft.com/office/drawing/2014/main" id="{F6AC8404-4D5D-41EF-87EA-5D5301FC4E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8088242"/>
              </p:ext>
            </p:extLst>
          </p:nvPr>
        </p:nvGraphicFramePr>
        <p:xfrm>
          <a:off x="246003" y="748290"/>
          <a:ext cx="11699994" cy="562555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932349">
                  <a:extLst>
                    <a:ext uri="{9D8B030D-6E8A-4147-A177-3AD203B41FA5}">
                      <a16:colId xmlns:a16="http://schemas.microsoft.com/office/drawing/2014/main" val="240523453"/>
                    </a:ext>
                  </a:extLst>
                </a:gridCol>
                <a:gridCol w="717843">
                  <a:extLst>
                    <a:ext uri="{9D8B030D-6E8A-4147-A177-3AD203B41FA5}">
                      <a16:colId xmlns:a16="http://schemas.microsoft.com/office/drawing/2014/main" val="2600394078"/>
                    </a:ext>
                  </a:extLst>
                </a:gridCol>
                <a:gridCol w="717843">
                  <a:extLst>
                    <a:ext uri="{9D8B030D-6E8A-4147-A177-3AD203B41FA5}">
                      <a16:colId xmlns:a16="http://schemas.microsoft.com/office/drawing/2014/main" val="3053047398"/>
                    </a:ext>
                  </a:extLst>
                </a:gridCol>
                <a:gridCol w="717843">
                  <a:extLst>
                    <a:ext uri="{9D8B030D-6E8A-4147-A177-3AD203B41FA5}">
                      <a16:colId xmlns:a16="http://schemas.microsoft.com/office/drawing/2014/main" val="3196907142"/>
                    </a:ext>
                  </a:extLst>
                </a:gridCol>
                <a:gridCol w="717843">
                  <a:extLst>
                    <a:ext uri="{9D8B030D-6E8A-4147-A177-3AD203B41FA5}">
                      <a16:colId xmlns:a16="http://schemas.microsoft.com/office/drawing/2014/main" val="4172403452"/>
                    </a:ext>
                  </a:extLst>
                </a:gridCol>
                <a:gridCol w="717843">
                  <a:extLst>
                    <a:ext uri="{9D8B030D-6E8A-4147-A177-3AD203B41FA5}">
                      <a16:colId xmlns:a16="http://schemas.microsoft.com/office/drawing/2014/main" val="3475416374"/>
                    </a:ext>
                  </a:extLst>
                </a:gridCol>
                <a:gridCol w="717843">
                  <a:extLst>
                    <a:ext uri="{9D8B030D-6E8A-4147-A177-3AD203B41FA5}">
                      <a16:colId xmlns:a16="http://schemas.microsoft.com/office/drawing/2014/main" val="1736358073"/>
                    </a:ext>
                  </a:extLst>
                </a:gridCol>
                <a:gridCol w="717843">
                  <a:extLst>
                    <a:ext uri="{9D8B030D-6E8A-4147-A177-3AD203B41FA5}">
                      <a16:colId xmlns:a16="http://schemas.microsoft.com/office/drawing/2014/main" val="1657016550"/>
                    </a:ext>
                  </a:extLst>
                </a:gridCol>
                <a:gridCol w="717843">
                  <a:extLst>
                    <a:ext uri="{9D8B030D-6E8A-4147-A177-3AD203B41FA5}">
                      <a16:colId xmlns:a16="http://schemas.microsoft.com/office/drawing/2014/main" val="3439446041"/>
                    </a:ext>
                  </a:extLst>
                </a:gridCol>
                <a:gridCol w="717843">
                  <a:extLst>
                    <a:ext uri="{9D8B030D-6E8A-4147-A177-3AD203B41FA5}">
                      <a16:colId xmlns:a16="http://schemas.microsoft.com/office/drawing/2014/main" val="2448714892"/>
                    </a:ext>
                  </a:extLst>
                </a:gridCol>
                <a:gridCol w="717843">
                  <a:extLst>
                    <a:ext uri="{9D8B030D-6E8A-4147-A177-3AD203B41FA5}">
                      <a16:colId xmlns:a16="http://schemas.microsoft.com/office/drawing/2014/main" val="2044535483"/>
                    </a:ext>
                  </a:extLst>
                </a:gridCol>
                <a:gridCol w="717843">
                  <a:extLst>
                    <a:ext uri="{9D8B030D-6E8A-4147-A177-3AD203B41FA5}">
                      <a16:colId xmlns:a16="http://schemas.microsoft.com/office/drawing/2014/main" val="2621931762"/>
                    </a:ext>
                  </a:extLst>
                </a:gridCol>
                <a:gridCol w="717843">
                  <a:extLst>
                    <a:ext uri="{9D8B030D-6E8A-4147-A177-3AD203B41FA5}">
                      <a16:colId xmlns:a16="http://schemas.microsoft.com/office/drawing/2014/main" val="189759365"/>
                    </a:ext>
                  </a:extLst>
                </a:gridCol>
                <a:gridCol w="717843">
                  <a:extLst>
                    <a:ext uri="{9D8B030D-6E8A-4147-A177-3AD203B41FA5}">
                      <a16:colId xmlns:a16="http://schemas.microsoft.com/office/drawing/2014/main" val="1076780986"/>
                    </a:ext>
                  </a:extLst>
                </a:gridCol>
                <a:gridCol w="717843">
                  <a:extLst>
                    <a:ext uri="{9D8B030D-6E8A-4147-A177-3AD203B41FA5}">
                      <a16:colId xmlns:a16="http://schemas.microsoft.com/office/drawing/2014/main" val="1889615408"/>
                    </a:ext>
                  </a:extLst>
                </a:gridCol>
                <a:gridCol w="717843">
                  <a:extLst>
                    <a:ext uri="{9D8B030D-6E8A-4147-A177-3AD203B41FA5}">
                      <a16:colId xmlns:a16="http://schemas.microsoft.com/office/drawing/2014/main" val="612472090"/>
                    </a:ext>
                  </a:extLst>
                </a:gridCol>
              </a:tblGrid>
              <a:tr h="432000">
                <a:tc gridSpan="16"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dikované – diagnostické testy (na 100 000 obyvatel)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81531624"/>
                  </a:ext>
                </a:extLst>
              </a:tr>
              <a:tr h="230816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HMP</a:t>
                      </a:r>
                      <a:endParaRPr lang="cs-CZ" sz="13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C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JHC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LK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KVK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LK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LBK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HKK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AK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VYS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JMK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OLK</a:t>
                      </a:r>
                      <a:endParaRPr lang="cs-CZ" sz="13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ZLK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SK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7441946"/>
                  </a:ext>
                </a:extLst>
              </a:tr>
              <a:tr h="23081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03.202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,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,7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,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1,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,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,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,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,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,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7,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6,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,1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,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,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,6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693641278"/>
                  </a:ext>
                </a:extLst>
              </a:tr>
              <a:tr h="23081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.03.202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,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,9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,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7,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,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,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,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,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,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0,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,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,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,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,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,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354829347"/>
                  </a:ext>
                </a:extLst>
              </a:tr>
              <a:tr h="23081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7.03.202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,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,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,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,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,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,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,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,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,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,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,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,2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314834168"/>
                  </a:ext>
                </a:extLst>
              </a:tr>
              <a:tr h="432000">
                <a:tc gridSpan="16"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dikované – epidemiologické testy (na 100 000 obyvatel)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7502851"/>
                  </a:ext>
                </a:extLst>
              </a:tr>
              <a:tr h="230816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solidFill>
                      <a:srgbClr val="F262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HMP</a:t>
                      </a:r>
                    </a:p>
                  </a:txBody>
                  <a:tcPr marL="7620" marR="7620" marT="7620" marB="0" anchor="ctr">
                    <a:solidFill>
                      <a:srgbClr val="F262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C</a:t>
                      </a:r>
                    </a:p>
                  </a:txBody>
                  <a:tcPr marL="7620" marR="7620" marT="7620" marB="0" anchor="ctr">
                    <a:solidFill>
                      <a:srgbClr val="F262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JHC</a:t>
                      </a:r>
                    </a:p>
                  </a:txBody>
                  <a:tcPr marL="7620" marR="7620" marT="7620" marB="0" anchor="ctr">
                    <a:solidFill>
                      <a:srgbClr val="F262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LK</a:t>
                      </a:r>
                    </a:p>
                  </a:txBody>
                  <a:tcPr marL="7620" marR="7620" marT="7620" marB="0" anchor="ctr">
                    <a:solidFill>
                      <a:srgbClr val="F262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KVK</a:t>
                      </a:r>
                    </a:p>
                  </a:txBody>
                  <a:tcPr marL="7620" marR="7620" marT="7620" marB="0" anchor="ctr">
                    <a:solidFill>
                      <a:srgbClr val="F262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LK</a:t>
                      </a:r>
                    </a:p>
                  </a:txBody>
                  <a:tcPr marL="7620" marR="7620" marT="7620" marB="0" anchor="ctr">
                    <a:solidFill>
                      <a:srgbClr val="F262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LBK</a:t>
                      </a:r>
                    </a:p>
                  </a:txBody>
                  <a:tcPr marL="7620" marR="7620" marT="7620" marB="0" anchor="ctr">
                    <a:solidFill>
                      <a:srgbClr val="F262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HKK</a:t>
                      </a:r>
                    </a:p>
                  </a:txBody>
                  <a:tcPr marL="7620" marR="7620" marT="7620" marB="0" anchor="ctr">
                    <a:solidFill>
                      <a:srgbClr val="F262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AK</a:t>
                      </a:r>
                    </a:p>
                  </a:txBody>
                  <a:tcPr marL="7620" marR="7620" marT="7620" marB="0" anchor="ctr">
                    <a:solidFill>
                      <a:srgbClr val="F262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VYS</a:t>
                      </a:r>
                    </a:p>
                  </a:txBody>
                  <a:tcPr marL="7620" marR="7620" marT="7620" marB="0" anchor="ctr">
                    <a:solidFill>
                      <a:srgbClr val="F262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JMK</a:t>
                      </a:r>
                    </a:p>
                  </a:txBody>
                  <a:tcPr marL="7620" marR="7620" marT="7620" marB="0" anchor="ctr">
                    <a:solidFill>
                      <a:srgbClr val="F262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OLK</a:t>
                      </a:r>
                    </a:p>
                  </a:txBody>
                  <a:tcPr marL="7620" marR="7620" marT="7620" marB="0" anchor="ctr">
                    <a:solidFill>
                      <a:srgbClr val="F262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ZLK</a:t>
                      </a:r>
                    </a:p>
                  </a:txBody>
                  <a:tcPr marL="7620" marR="7620" marT="7620" marB="0" anchor="ctr">
                    <a:solidFill>
                      <a:srgbClr val="F262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SK</a:t>
                      </a:r>
                    </a:p>
                  </a:txBody>
                  <a:tcPr marL="7620" marR="7620" marT="7620" marB="0" anchor="ctr">
                    <a:solidFill>
                      <a:srgbClr val="F262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7620" marR="7620" marT="7620" marB="0" anchor="ctr">
                    <a:solidFill>
                      <a:srgbClr val="F2628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4131984"/>
                  </a:ext>
                </a:extLst>
              </a:tr>
              <a:tr h="23081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03.2021</a:t>
                      </a:r>
                    </a:p>
                  </a:txBody>
                  <a:tcPr marL="7620" marR="7620" marT="7620" marB="0" anchor="ctr">
                    <a:solidFill>
                      <a:srgbClr val="F262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,0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,3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,9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,2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,5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,4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,8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,3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,1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,0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,1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,7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2,2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7,4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,0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4890813"/>
                  </a:ext>
                </a:extLst>
              </a:tr>
              <a:tr h="23081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.03.2021</a:t>
                      </a:r>
                    </a:p>
                  </a:txBody>
                  <a:tcPr marL="7620" marR="7620" marT="7620" marB="0" anchor="ctr">
                    <a:solidFill>
                      <a:srgbClr val="F262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,7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,4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,9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,0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,7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,5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,4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,3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,6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,8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,2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,4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,6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,7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,3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3909705"/>
                  </a:ext>
                </a:extLst>
              </a:tr>
              <a:tr h="23081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7.03.2021</a:t>
                      </a:r>
                    </a:p>
                  </a:txBody>
                  <a:tcPr marL="7620" marR="7620" marT="7620" marB="0" anchor="ctr">
                    <a:solidFill>
                      <a:srgbClr val="F262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,7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,5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,1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8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,0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,3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,3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,4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,0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,2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,9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9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,8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,7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,7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5118791"/>
                  </a:ext>
                </a:extLst>
              </a:tr>
              <a:tr h="432000">
                <a:tc gridSpan="16"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eventivní testy (na 100 000 obyvatel)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73388204"/>
                  </a:ext>
                </a:extLst>
              </a:tr>
              <a:tr h="230816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solidFill>
                      <a:srgbClr val="00CD6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HMP</a:t>
                      </a:r>
                    </a:p>
                  </a:txBody>
                  <a:tcPr marL="7620" marR="7620" marT="7620" marB="0" anchor="ctr">
                    <a:solidFill>
                      <a:srgbClr val="00CD6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C</a:t>
                      </a:r>
                    </a:p>
                  </a:txBody>
                  <a:tcPr marL="7620" marR="7620" marT="7620" marB="0" anchor="ctr">
                    <a:solidFill>
                      <a:srgbClr val="00CD6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JHC</a:t>
                      </a:r>
                    </a:p>
                  </a:txBody>
                  <a:tcPr marL="7620" marR="7620" marT="7620" marB="0" anchor="ctr">
                    <a:solidFill>
                      <a:srgbClr val="00CD6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LK</a:t>
                      </a:r>
                    </a:p>
                  </a:txBody>
                  <a:tcPr marL="7620" marR="7620" marT="7620" marB="0" anchor="ctr">
                    <a:solidFill>
                      <a:srgbClr val="00CD6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KVK</a:t>
                      </a:r>
                    </a:p>
                  </a:txBody>
                  <a:tcPr marL="7620" marR="7620" marT="7620" marB="0" anchor="ctr">
                    <a:solidFill>
                      <a:srgbClr val="00CD6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LK</a:t>
                      </a:r>
                    </a:p>
                  </a:txBody>
                  <a:tcPr marL="7620" marR="7620" marT="7620" marB="0" anchor="ctr">
                    <a:solidFill>
                      <a:srgbClr val="00CD6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LBK</a:t>
                      </a:r>
                    </a:p>
                  </a:txBody>
                  <a:tcPr marL="7620" marR="7620" marT="7620" marB="0" anchor="ctr">
                    <a:solidFill>
                      <a:srgbClr val="00CD6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HKK</a:t>
                      </a:r>
                    </a:p>
                  </a:txBody>
                  <a:tcPr marL="7620" marR="7620" marT="7620" marB="0" anchor="ctr">
                    <a:solidFill>
                      <a:srgbClr val="00CD6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AK</a:t>
                      </a:r>
                    </a:p>
                  </a:txBody>
                  <a:tcPr marL="7620" marR="7620" marT="7620" marB="0" anchor="ctr">
                    <a:solidFill>
                      <a:srgbClr val="00CD6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VYS</a:t>
                      </a:r>
                    </a:p>
                  </a:txBody>
                  <a:tcPr marL="7620" marR="7620" marT="7620" marB="0" anchor="ctr">
                    <a:solidFill>
                      <a:srgbClr val="00CD6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JMK</a:t>
                      </a:r>
                    </a:p>
                  </a:txBody>
                  <a:tcPr marL="7620" marR="7620" marT="7620" marB="0" anchor="ctr">
                    <a:solidFill>
                      <a:srgbClr val="00CD6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OLK</a:t>
                      </a:r>
                    </a:p>
                  </a:txBody>
                  <a:tcPr marL="7620" marR="7620" marT="7620" marB="0" anchor="ctr">
                    <a:solidFill>
                      <a:srgbClr val="00CD6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ZLK</a:t>
                      </a:r>
                    </a:p>
                  </a:txBody>
                  <a:tcPr marL="7620" marR="7620" marT="7620" marB="0" anchor="ctr">
                    <a:solidFill>
                      <a:srgbClr val="00CD6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SK</a:t>
                      </a:r>
                    </a:p>
                  </a:txBody>
                  <a:tcPr marL="7620" marR="7620" marT="7620" marB="0" anchor="ctr">
                    <a:solidFill>
                      <a:srgbClr val="00CD6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7620" marR="7620" marT="7620" marB="0" anchor="ctr">
                    <a:solidFill>
                      <a:srgbClr val="00CD6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4861485"/>
                  </a:ext>
                </a:extLst>
              </a:tr>
              <a:tr h="23081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03.2021</a:t>
                      </a:r>
                    </a:p>
                  </a:txBody>
                  <a:tcPr marL="7620" marR="7620" marT="7620" marB="0" anchor="ctr">
                    <a:solidFill>
                      <a:srgbClr val="00CD6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73,2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17,6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17,7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04,5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4,0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3,7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41,8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01,8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95,7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9,5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76,2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7,7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85,0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04,4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56,0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6545528"/>
                  </a:ext>
                </a:extLst>
              </a:tr>
              <a:tr h="23081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.03.2021</a:t>
                      </a:r>
                    </a:p>
                  </a:txBody>
                  <a:tcPr marL="7620" marR="7620" marT="7620" marB="0" anchor="ctr">
                    <a:solidFill>
                      <a:srgbClr val="00CD6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3,9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8,5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0,5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2,2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0,8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9,9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0,1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02,3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8,4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6,3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02,6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8,2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6,4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0,0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1,8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1376839"/>
                  </a:ext>
                </a:extLst>
              </a:tr>
              <a:tr h="23081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7.03.2021</a:t>
                      </a:r>
                    </a:p>
                  </a:txBody>
                  <a:tcPr marL="7620" marR="7620" marT="7620" marB="0" anchor="ctr">
                    <a:solidFill>
                      <a:srgbClr val="00CD6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0,6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,7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,7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9,9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1,9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,2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,9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,2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,7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,7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,9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,4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,8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,7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,4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3988984"/>
                  </a:ext>
                </a:extLst>
              </a:tr>
              <a:tr h="432000">
                <a:tc gridSpan="16">
                  <a:txBody>
                    <a:bodyPr/>
                    <a:lstStyle/>
                    <a:p>
                      <a:pPr algn="l" rtl="0" fontAlgn="ctr"/>
                      <a:r>
                        <a:rPr lang="pl-PL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statní testy (na 100 000 obyvatel)</a:t>
                      </a:r>
                      <a:endParaRPr lang="pl-PL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9375094"/>
                  </a:ext>
                </a:extLst>
              </a:tr>
              <a:tr h="230816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HMP</a:t>
                      </a:r>
                    </a:p>
                  </a:txBody>
                  <a:tcPr marL="7620" marR="7620" marT="762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C</a:t>
                      </a:r>
                    </a:p>
                  </a:txBody>
                  <a:tcPr marL="7620" marR="7620" marT="762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JHC</a:t>
                      </a:r>
                    </a:p>
                  </a:txBody>
                  <a:tcPr marL="7620" marR="7620" marT="762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LK</a:t>
                      </a:r>
                    </a:p>
                  </a:txBody>
                  <a:tcPr marL="7620" marR="7620" marT="762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KVK</a:t>
                      </a:r>
                    </a:p>
                  </a:txBody>
                  <a:tcPr marL="7620" marR="7620" marT="762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LK</a:t>
                      </a:r>
                    </a:p>
                  </a:txBody>
                  <a:tcPr marL="7620" marR="7620" marT="762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LBK</a:t>
                      </a:r>
                    </a:p>
                  </a:txBody>
                  <a:tcPr marL="7620" marR="7620" marT="762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HKK</a:t>
                      </a:r>
                    </a:p>
                  </a:txBody>
                  <a:tcPr marL="7620" marR="7620" marT="762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AK</a:t>
                      </a:r>
                      <a:endParaRPr lang="cs-CZ" sz="13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VYS</a:t>
                      </a:r>
                    </a:p>
                  </a:txBody>
                  <a:tcPr marL="7620" marR="7620" marT="762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JMK</a:t>
                      </a:r>
                    </a:p>
                  </a:txBody>
                  <a:tcPr marL="7620" marR="7620" marT="762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OLK</a:t>
                      </a:r>
                      <a:endParaRPr lang="cs-CZ" sz="13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ZLK</a:t>
                      </a:r>
                    </a:p>
                  </a:txBody>
                  <a:tcPr marL="7620" marR="7620" marT="762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SK</a:t>
                      </a:r>
                    </a:p>
                  </a:txBody>
                  <a:tcPr marL="7620" marR="7620" marT="762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7620" marR="7620" marT="7620" marB="0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9783109"/>
                  </a:ext>
                </a:extLst>
              </a:tr>
              <a:tr h="23081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03.2021</a:t>
                      </a:r>
                    </a:p>
                  </a:txBody>
                  <a:tcPr marL="7620" marR="7620" marT="762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5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,2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3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2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0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7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3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8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6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0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4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7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1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6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4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0324862"/>
                  </a:ext>
                </a:extLst>
              </a:tr>
              <a:tr h="23081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.03.2021</a:t>
                      </a:r>
                    </a:p>
                  </a:txBody>
                  <a:tcPr marL="7620" marR="7620" marT="762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,4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7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5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,4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9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7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4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2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8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4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9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8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8406669"/>
                  </a:ext>
                </a:extLst>
              </a:tr>
              <a:tr h="23081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7.03.2021</a:t>
                      </a:r>
                    </a:p>
                  </a:txBody>
                  <a:tcPr marL="7620" marR="7620" marT="762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1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8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9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1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1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6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7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6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8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2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7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14217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412549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6371768" cy="576000"/>
          </a:xfrm>
        </p:spPr>
        <p:txBody>
          <a:bodyPr/>
          <a:lstStyle/>
          <a:p>
            <a:r>
              <a:rPr lang="cs-CZ" dirty="0"/>
              <a:t>Vývoj objemu testů ve srovnání posledních tří dnů </a:t>
            </a:r>
          </a:p>
        </p:txBody>
      </p:sp>
      <p:graphicFrame>
        <p:nvGraphicFramePr>
          <p:cNvPr id="12" name="Table 7">
            <a:extLst>
              <a:ext uri="{FF2B5EF4-FFF2-40B4-BE49-F238E27FC236}">
                <a16:creationId xmlns:a16="http://schemas.microsoft.com/office/drawing/2014/main" id="{CCF4BBC2-406B-49C9-A5CC-BB9FEC698C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6739144"/>
              </p:ext>
            </p:extLst>
          </p:nvPr>
        </p:nvGraphicFramePr>
        <p:xfrm>
          <a:off x="246003" y="718472"/>
          <a:ext cx="11699994" cy="5625552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932349">
                  <a:extLst>
                    <a:ext uri="{9D8B030D-6E8A-4147-A177-3AD203B41FA5}">
                      <a16:colId xmlns:a16="http://schemas.microsoft.com/office/drawing/2014/main" val="240523453"/>
                    </a:ext>
                  </a:extLst>
                </a:gridCol>
                <a:gridCol w="717843">
                  <a:extLst>
                    <a:ext uri="{9D8B030D-6E8A-4147-A177-3AD203B41FA5}">
                      <a16:colId xmlns:a16="http://schemas.microsoft.com/office/drawing/2014/main" val="2600394078"/>
                    </a:ext>
                  </a:extLst>
                </a:gridCol>
                <a:gridCol w="717843">
                  <a:extLst>
                    <a:ext uri="{9D8B030D-6E8A-4147-A177-3AD203B41FA5}">
                      <a16:colId xmlns:a16="http://schemas.microsoft.com/office/drawing/2014/main" val="3053047398"/>
                    </a:ext>
                  </a:extLst>
                </a:gridCol>
                <a:gridCol w="717843">
                  <a:extLst>
                    <a:ext uri="{9D8B030D-6E8A-4147-A177-3AD203B41FA5}">
                      <a16:colId xmlns:a16="http://schemas.microsoft.com/office/drawing/2014/main" val="3196907142"/>
                    </a:ext>
                  </a:extLst>
                </a:gridCol>
                <a:gridCol w="717843">
                  <a:extLst>
                    <a:ext uri="{9D8B030D-6E8A-4147-A177-3AD203B41FA5}">
                      <a16:colId xmlns:a16="http://schemas.microsoft.com/office/drawing/2014/main" val="4172403452"/>
                    </a:ext>
                  </a:extLst>
                </a:gridCol>
                <a:gridCol w="717843">
                  <a:extLst>
                    <a:ext uri="{9D8B030D-6E8A-4147-A177-3AD203B41FA5}">
                      <a16:colId xmlns:a16="http://schemas.microsoft.com/office/drawing/2014/main" val="3475416374"/>
                    </a:ext>
                  </a:extLst>
                </a:gridCol>
                <a:gridCol w="717843">
                  <a:extLst>
                    <a:ext uri="{9D8B030D-6E8A-4147-A177-3AD203B41FA5}">
                      <a16:colId xmlns:a16="http://schemas.microsoft.com/office/drawing/2014/main" val="1736358073"/>
                    </a:ext>
                  </a:extLst>
                </a:gridCol>
                <a:gridCol w="717843">
                  <a:extLst>
                    <a:ext uri="{9D8B030D-6E8A-4147-A177-3AD203B41FA5}">
                      <a16:colId xmlns:a16="http://schemas.microsoft.com/office/drawing/2014/main" val="1657016550"/>
                    </a:ext>
                  </a:extLst>
                </a:gridCol>
                <a:gridCol w="717843">
                  <a:extLst>
                    <a:ext uri="{9D8B030D-6E8A-4147-A177-3AD203B41FA5}">
                      <a16:colId xmlns:a16="http://schemas.microsoft.com/office/drawing/2014/main" val="3439446041"/>
                    </a:ext>
                  </a:extLst>
                </a:gridCol>
                <a:gridCol w="717843">
                  <a:extLst>
                    <a:ext uri="{9D8B030D-6E8A-4147-A177-3AD203B41FA5}">
                      <a16:colId xmlns:a16="http://schemas.microsoft.com/office/drawing/2014/main" val="2448714892"/>
                    </a:ext>
                  </a:extLst>
                </a:gridCol>
                <a:gridCol w="717843">
                  <a:extLst>
                    <a:ext uri="{9D8B030D-6E8A-4147-A177-3AD203B41FA5}">
                      <a16:colId xmlns:a16="http://schemas.microsoft.com/office/drawing/2014/main" val="2044535483"/>
                    </a:ext>
                  </a:extLst>
                </a:gridCol>
                <a:gridCol w="717843">
                  <a:extLst>
                    <a:ext uri="{9D8B030D-6E8A-4147-A177-3AD203B41FA5}">
                      <a16:colId xmlns:a16="http://schemas.microsoft.com/office/drawing/2014/main" val="2621931762"/>
                    </a:ext>
                  </a:extLst>
                </a:gridCol>
                <a:gridCol w="717843">
                  <a:extLst>
                    <a:ext uri="{9D8B030D-6E8A-4147-A177-3AD203B41FA5}">
                      <a16:colId xmlns:a16="http://schemas.microsoft.com/office/drawing/2014/main" val="189759365"/>
                    </a:ext>
                  </a:extLst>
                </a:gridCol>
                <a:gridCol w="717843">
                  <a:extLst>
                    <a:ext uri="{9D8B030D-6E8A-4147-A177-3AD203B41FA5}">
                      <a16:colId xmlns:a16="http://schemas.microsoft.com/office/drawing/2014/main" val="1076780986"/>
                    </a:ext>
                  </a:extLst>
                </a:gridCol>
                <a:gridCol w="717843">
                  <a:extLst>
                    <a:ext uri="{9D8B030D-6E8A-4147-A177-3AD203B41FA5}">
                      <a16:colId xmlns:a16="http://schemas.microsoft.com/office/drawing/2014/main" val="1889615408"/>
                    </a:ext>
                  </a:extLst>
                </a:gridCol>
                <a:gridCol w="717843">
                  <a:extLst>
                    <a:ext uri="{9D8B030D-6E8A-4147-A177-3AD203B41FA5}">
                      <a16:colId xmlns:a16="http://schemas.microsoft.com/office/drawing/2014/main" val="612472090"/>
                    </a:ext>
                  </a:extLst>
                </a:gridCol>
              </a:tblGrid>
              <a:tr h="432000">
                <a:tc gridSpan="16"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dikované – diagnostické testy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81531624"/>
                  </a:ext>
                </a:extLst>
              </a:tr>
              <a:tr h="230816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HMP</a:t>
                      </a:r>
                      <a:endParaRPr lang="cs-CZ" sz="13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C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JHC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LK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KVK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LK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LBK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HKK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AK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VYS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JMK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OLK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ZLK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SK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7441946"/>
                  </a:ext>
                </a:extLst>
              </a:tr>
              <a:tr h="23081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03.202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30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3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2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7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7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8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5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0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4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6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489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693641278"/>
                  </a:ext>
                </a:extLst>
              </a:tr>
              <a:tr h="23081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.03.202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8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3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8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9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4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0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0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4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393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354829347"/>
                  </a:ext>
                </a:extLst>
              </a:tr>
              <a:tr h="23081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7.03.202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1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9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8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679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314834168"/>
                  </a:ext>
                </a:extLst>
              </a:tr>
              <a:tr h="432000">
                <a:tc gridSpan="16"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dikované – epidemiologické testy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7502851"/>
                  </a:ext>
                </a:extLst>
              </a:tr>
              <a:tr h="230816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solidFill>
                      <a:srgbClr val="F262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HMP</a:t>
                      </a:r>
                    </a:p>
                  </a:txBody>
                  <a:tcPr marL="7620" marR="7620" marT="7620" marB="0" anchor="ctr">
                    <a:solidFill>
                      <a:srgbClr val="F262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C</a:t>
                      </a:r>
                    </a:p>
                  </a:txBody>
                  <a:tcPr marL="7620" marR="7620" marT="7620" marB="0" anchor="ctr">
                    <a:solidFill>
                      <a:srgbClr val="F262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JHC</a:t>
                      </a:r>
                      <a:endParaRPr lang="cs-CZ" sz="13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F262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LK</a:t>
                      </a:r>
                    </a:p>
                  </a:txBody>
                  <a:tcPr marL="7620" marR="7620" marT="7620" marB="0" anchor="ctr">
                    <a:solidFill>
                      <a:srgbClr val="F262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KVK</a:t>
                      </a:r>
                    </a:p>
                  </a:txBody>
                  <a:tcPr marL="7620" marR="7620" marT="7620" marB="0" anchor="ctr">
                    <a:solidFill>
                      <a:srgbClr val="F262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LK</a:t>
                      </a:r>
                    </a:p>
                  </a:txBody>
                  <a:tcPr marL="7620" marR="7620" marT="7620" marB="0" anchor="ctr">
                    <a:solidFill>
                      <a:srgbClr val="F262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LBK</a:t>
                      </a:r>
                    </a:p>
                  </a:txBody>
                  <a:tcPr marL="7620" marR="7620" marT="7620" marB="0" anchor="ctr">
                    <a:solidFill>
                      <a:srgbClr val="F262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HKK</a:t>
                      </a:r>
                    </a:p>
                  </a:txBody>
                  <a:tcPr marL="7620" marR="7620" marT="7620" marB="0" anchor="ctr">
                    <a:solidFill>
                      <a:srgbClr val="F262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AK</a:t>
                      </a:r>
                    </a:p>
                  </a:txBody>
                  <a:tcPr marL="7620" marR="7620" marT="7620" marB="0" anchor="ctr">
                    <a:solidFill>
                      <a:srgbClr val="F262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VYS</a:t>
                      </a:r>
                    </a:p>
                  </a:txBody>
                  <a:tcPr marL="7620" marR="7620" marT="7620" marB="0" anchor="ctr">
                    <a:solidFill>
                      <a:srgbClr val="F262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JMK</a:t>
                      </a:r>
                    </a:p>
                  </a:txBody>
                  <a:tcPr marL="7620" marR="7620" marT="7620" marB="0" anchor="ctr">
                    <a:solidFill>
                      <a:srgbClr val="F262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OLK</a:t>
                      </a:r>
                    </a:p>
                  </a:txBody>
                  <a:tcPr marL="7620" marR="7620" marT="7620" marB="0" anchor="ctr">
                    <a:solidFill>
                      <a:srgbClr val="F262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ZLK</a:t>
                      </a:r>
                    </a:p>
                  </a:txBody>
                  <a:tcPr marL="7620" marR="7620" marT="7620" marB="0" anchor="ctr">
                    <a:solidFill>
                      <a:srgbClr val="F262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SK</a:t>
                      </a:r>
                    </a:p>
                  </a:txBody>
                  <a:tcPr marL="7620" marR="7620" marT="7620" marB="0" anchor="ctr">
                    <a:solidFill>
                      <a:srgbClr val="F262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7620" marR="7620" marT="7620" marB="0" anchor="ctr">
                    <a:solidFill>
                      <a:srgbClr val="F2628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4131984"/>
                  </a:ext>
                </a:extLst>
              </a:tr>
              <a:tr h="23081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03.2021</a:t>
                      </a:r>
                    </a:p>
                  </a:txBody>
                  <a:tcPr marL="7620" marR="7620" marT="7620" marB="0" anchor="ctr">
                    <a:solidFill>
                      <a:srgbClr val="F262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18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05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13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8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6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38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3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6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8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44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30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1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44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90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774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4890813"/>
                  </a:ext>
                </a:extLst>
              </a:tr>
              <a:tr h="23081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.03.2021</a:t>
                      </a:r>
                    </a:p>
                  </a:txBody>
                  <a:tcPr marL="7620" marR="7620" marT="7620" marB="0" anchor="ctr">
                    <a:solidFill>
                      <a:srgbClr val="F262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49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54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33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8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7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58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6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16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83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49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81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7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55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02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928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3909705"/>
                  </a:ext>
                </a:extLst>
              </a:tr>
              <a:tr h="23081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7.03.2021</a:t>
                      </a:r>
                    </a:p>
                  </a:txBody>
                  <a:tcPr marL="7620" marR="7620" marT="7620" marB="0" anchor="ctr">
                    <a:solidFill>
                      <a:srgbClr val="F262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0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1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2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0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3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5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3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4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2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3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029</a:t>
                      </a:r>
                    </a:p>
                  </a:txBody>
                  <a:tcPr marL="7620" marR="7620" marT="7620" marB="0" anchor="ctr">
                    <a:solidFill>
                      <a:srgbClr val="F7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5118791"/>
                  </a:ext>
                </a:extLst>
              </a:tr>
              <a:tr h="432000">
                <a:tc gridSpan="16"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eventivní testy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3388204"/>
                  </a:ext>
                </a:extLst>
              </a:tr>
              <a:tr h="230816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solidFill>
                      <a:srgbClr val="00CD6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HMP</a:t>
                      </a:r>
                    </a:p>
                  </a:txBody>
                  <a:tcPr marL="7620" marR="7620" marT="7620" marB="0" anchor="ctr">
                    <a:solidFill>
                      <a:srgbClr val="00CD6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C</a:t>
                      </a:r>
                    </a:p>
                  </a:txBody>
                  <a:tcPr marL="7620" marR="7620" marT="7620" marB="0" anchor="ctr">
                    <a:solidFill>
                      <a:srgbClr val="00CD6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JHC</a:t>
                      </a:r>
                    </a:p>
                  </a:txBody>
                  <a:tcPr marL="7620" marR="7620" marT="7620" marB="0" anchor="ctr">
                    <a:solidFill>
                      <a:srgbClr val="00CD6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LK</a:t>
                      </a:r>
                    </a:p>
                  </a:txBody>
                  <a:tcPr marL="7620" marR="7620" marT="7620" marB="0" anchor="ctr">
                    <a:solidFill>
                      <a:srgbClr val="00CD6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KVK</a:t>
                      </a:r>
                    </a:p>
                  </a:txBody>
                  <a:tcPr marL="7620" marR="7620" marT="7620" marB="0" anchor="ctr">
                    <a:solidFill>
                      <a:srgbClr val="00CD6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LK</a:t>
                      </a:r>
                    </a:p>
                  </a:txBody>
                  <a:tcPr marL="7620" marR="7620" marT="7620" marB="0" anchor="ctr">
                    <a:solidFill>
                      <a:srgbClr val="00CD6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LBK</a:t>
                      </a:r>
                      <a:endParaRPr lang="cs-CZ" sz="13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CD6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HKK</a:t>
                      </a:r>
                    </a:p>
                  </a:txBody>
                  <a:tcPr marL="7620" marR="7620" marT="7620" marB="0" anchor="ctr">
                    <a:solidFill>
                      <a:srgbClr val="00CD6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AK</a:t>
                      </a:r>
                    </a:p>
                  </a:txBody>
                  <a:tcPr marL="7620" marR="7620" marT="7620" marB="0" anchor="ctr">
                    <a:solidFill>
                      <a:srgbClr val="00CD6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VYS</a:t>
                      </a:r>
                    </a:p>
                  </a:txBody>
                  <a:tcPr marL="7620" marR="7620" marT="7620" marB="0" anchor="ctr">
                    <a:solidFill>
                      <a:srgbClr val="00CD6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JMK</a:t>
                      </a:r>
                    </a:p>
                  </a:txBody>
                  <a:tcPr marL="7620" marR="7620" marT="7620" marB="0" anchor="ctr">
                    <a:solidFill>
                      <a:srgbClr val="00CD6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OLK</a:t>
                      </a:r>
                    </a:p>
                  </a:txBody>
                  <a:tcPr marL="7620" marR="7620" marT="7620" marB="0" anchor="ctr">
                    <a:solidFill>
                      <a:srgbClr val="00CD6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ZLK</a:t>
                      </a:r>
                    </a:p>
                  </a:txBody>
                  <a:tcPr marL="7620" marR="7620" marT="7620" marB="0" anchor="ctr">
                    <a:solidFill>
                      <a:srgbClr val="00CD6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SK</a:t>
                      </a:r>
                    </a:p>
                  </a:txBody>
                  <a:tcPr marL="7620" marR="7620" marT="7620" marB="0" anchor="ctr">
                    <a:solidFill>
                      <a:srgbClr val="00CD6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7620" marR="7620" marT="7620" marB="0" anchor="ctr">
                    <a:solidFill>
                      <a:srgbClr val="00CD6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4861485"/>
                  </a:ext>
                </a:extLst>
              </a:tr>
              <a:tr h="23081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03.2021</a:t>
                      </a:r>
                    </a:p>
                  </a:txBody>
                  <a:tcPr marL="7620" marR="7620" marT="7620" marB="0" anchor="ctr">
                    <a:solidFill>
                      <a:srgbClr val="00CD6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536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481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199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695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30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76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66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733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772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433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828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213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903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259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 624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6545528"/>
                  </a:ext>
                </a:extLst>
              </a:tr>
              <a:tr h="23081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.03.2021</a:t>
                      </a:r>
                    </a:p>
                  </a:txBody>
                  <a:tcPr marL="7620" marR="7620" marT="7620" marB="0" anchor="ctr">
                    <a:solidFill>
                      <a:srgbClr val="00CD6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030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753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349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558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25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74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816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81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16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42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951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71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64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565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295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1376839"/>
                  </a:ext>
                </a:extLst>
              </a:tr>
              <a:tr h="23081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7.03.2021</a:t>
                      </a:r>
                    </a:p>
                  </a:txBody>
                  <a:tcPr marL="7620" marR="7620" marT="7620" marB="0" anchor="ctr">
                    <a:solidFill>
                      <a:srgbClr val="00CD6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835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88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89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74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9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25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7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14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7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0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457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83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71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73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242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3988984"/>
                  </a:ext>
                </a:extLst>
              </a:tr>
              <a:tr h="432000">
                <a:tc gridSpan="16"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statní testy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9375094"/>
                  </a:ext>
                </a:extLst>
              </a:tr>
              <a:tr h="230816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HMP</a:t>
                      </a:r>
                    </a:p>
                  </a:txBody>
                  <a:tcPr marL="7620" marR="7620" marT="762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C</a:t>
                      </a:r>
                    </a:p>
                  </a:txBody>
                  <a:tcPr marL="7620" marR="7620" marT="762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JHC</a:t>
                      </a:r>
                    </a:p>
                  </a:txBody>
                  <a:tcPr marL="7620" marR="7620" marT="762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LK</a:t>
                      </a:r>
                    </a:p>
                  </a:txBody>
                  <a:tcPr marL="7620" marR="7620" marT="762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KVK</a:t>
                      </a:r>
                    </a:p>
                  </a:txBody>
                  <a:tcPr marL="7620" marR="7620" marT="762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LK</a:t>
                      </a:r>
                    </a:p>
                  </a:txBody>
                  <a:tcPr marL="7620" marR="7620" marT="762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LBK</a:t>
                      </a:r>
                    </a:p>
                  </a:txBody>
                  <a:tcPr marL="7620" marR="7620" marT="762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HKK</a:t>
                      </a:r>
                    </a:p>
                  </a:txBody>
                  <a:tcPr marL="7620" marR="7620" marT="762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AK</a:t>
                      </a:r>
                    </a:p>
                  </a:txBody>
                  <a:tcPr marL="7620" marR="7620" marT="762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VYS</a:t>
                      </a:r>
                    </a:p>
                  </a:txBody>
                  <a:tcPr marL="7620" marR="7620" marT="762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JMK</a:t>
                      </a:r>
                    </a:p>
                  </a:txBody>
                  <a:tcPr marL="7620" marR="7620" marT="762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OLK</a:t>
                      </a:r>
                    </a:p>
                  </a:txBody>
                  <a:tcPr marL="7620" marR="7620" marT="762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ZLK</a:t>
                      </a:r>
                    </a:p>
                  </a:txBody>
                  <a:tcPr marL="7620" marR="7620" marT="762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SK</a:t>
                      </a:r>
                    </a:p>
                  </a:txBody>
                  <a:tcPr marL="7620" marR="7620" marT="762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7620" marR="7620" marT="7620" marB="0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9783109"/>
                  </a:ext>
                </a:extLst>
              </a:tr>
              <a:tr h="23081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03.2021</a:t>
                      </a:r>
                    </a:p>
                  </a:txBody>
                  <a:tcPr marL="7620" marR="7620" marT="762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3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5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97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0324862"/>
                  </a:ext>
                </a:extLst>
              </a:tr>
              <a:tr h="23081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.03.2021</a:t>
                      </a:r>
                    </a:p>
                  </a:txBody>
                  <a:tcPr marL="7620" marR="7620" marT="762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7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7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1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41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8406669"/>
                  </a:ext>
                </a:extLst>
              </a:tr>
              <a:tr h="23081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7.03.2021</a:t>
                      </a:r>
                    </a:p>
                  </a:txBody>
                  <a:tcPr marL="7620" marR="7620" marT="762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5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09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E7F6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14217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2274870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Chart 26">
            <a:extLst>
              <a:ext uri="{FF2B5EF4-FFF2-40B4-BE49-F238E27FC236}">
                <a16:creationId xmlns:a16="http://schemas.microsoft.com/office/drawing/2014/main" id="{5333B502-23FA-4774-82A4-7B24977D4378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6807274"/>
              </p:ext>
            </p:extLst>
          </p:nvPr>
        </p:nvGraphicFramePr>
        <p:xfrm>
          <a:off x="6685182" y="4281083"/>
          <a:ext cx="4895849" cy="25005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5" name="Chart 27">
            <a:extLst>
              <a:ext uri="{FF2B5EF4-FFF2-40B4-BE49-F238E27FC236}">
                <a16:creationId xmlns:a16="http://schemas.microsoft.com/office/drawing/2014/main" id="{F656EF0A-7862-4AF7-BB15-10F88646567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7864657"/>
              </p:ext>
            </p:extLst>
          </p:nvPr>
        </p:nvGraphicFramePr>
        <p:xfrm>
          <a:off x="913564" y="4299013"/>
          <a:ext cx="4895849" cy="25005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6" name="Chart 25">
            <a:extLst>
              <a:ext uri="{FF2B5EF4-FFF2-40B4-BE49-F238E27FC236}">
                <a16:creationId xmlns:a16="http://schemas.microsoft.com/office/drawing/2014/main" id="{41866B26-EC2E-425F-B251-FEF47F5FEDA5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38284641"/>
              </p:ext>
            </p:extLst>
          </p:nvPr>
        </p:nvGraphicFramePr>
        <p:xfrm>
          <a:off x="6907052" y="1325265"/>
          <a:ext cx="4895849" cy="25005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6" name="Chart 28">
            <a:extLst>
              <a:ext uri="{FF2B5EF4-FFF2-40B4-BE49-F238E27FC236}">
                <a16:creationId xmlns:a16="http://schemas.microsoft.com/office/drawing/2014/main" id="{F1091E15-33BA-45D5-87E1-C0A72C0B86D7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478466275"/>
              </p:ext>
            </p:extLst>
          </p:nvPr>
        </p:nvGraphicFramePr>
        <p:xfrm>
          <a:off x="915613" y="1325265"/>
          <a:ext cx="4895849" cy="25005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381740" y="2"/>
            <a:ext cx="6371768" cy="576000"/>
          </a:xfrm>
        </p:spPr>
        <p:txBody>
          <a:bodyPr/>
          <a:lstStyle/>
          <a:p>
            <a:r>
              <a:rPr lang="cs-CZ" dirty="0"/>
              <a:t>Počty testů dle indikace a účelu: 21. 3.–27. 3.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A91ECD4A-599C-40EF-8570-DF982A20C5D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005978" y="861003"/>
            <a:ext cx="44311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kované - epidemiologické</a:t>
            </a:r>
          </a:p>
        </p:txBody>
      </p:sp>
      <p:sp>
        <p:nvSpPr>
          <p:cNvPr id="17" name="TextovéPole 10">
            <a:extLst>
              <a:ext uri="{FF2B5EF4-FFF2-40B4-BE49-F238E27FC236}">
                <a16:creationId xmlns:a16="http://schemas.microsoft.com/office/drawing/2014/main" id="{FB7F6A7B-671C-4552-8925-72AED740EDC5}"/>
              </a:ext>
            </a:extLst>
          </p:cNvPr>
          <p:cNvSpPr txBox="1"/>
          <p:nvPr/>
        </p:nvSpPr>
        <p:spPr>
          <a:xfrm rot="16200000">
            <a:off x="5560688" y="1867715"/>
            <a:ext cx="183829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testů na 100 000 obyvatel</a:t>
            </a: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A91ECD4A-599C-40EF-8570-DF982A20C5D2}"/>
              </a:ext>
            </a:extLst>
          </p:cNvPr>
          <p:cNvSpPr txBox="1"/>
          <p:nvPr/>
        </p:nvSpPr>
        <p:spPr>
          <a:xfrm>
            <a:off x="7005978" y="4064401"/>
            <a:ext cx="44311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tní</a:t>
            </a:r>
          </a:p>
        </p:txBody>
      </p:sp>
      <p:sp>
        <p:nvSpPr>
          <p:cNvPr id="19" name="TextovéPole 10">
            <a:extLst>
              <a:ext uri="{FF2B5EF4-FFF2-40B4-BE49-F238E27FC236}">
                <a16:creationId xmlns:a16="http://schemas.microsoft.com/office/drawing/2014/main" id="{FB7F6A7B-671C-4552-8925-72AED740EDC5}"/>
              </a:ext>
            </a:extLst>
          </p:cNvPr>
          <p:cNvSpPr txBox="1"/>
          <p:nvPr/>
        </p:nvSpPr>
        <p:spPr>
          <a:xfrm rot="16200000">
            <a:off x="5560688" y="5071113"/>
            <a:ext cx="183829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testů na 100 000 obyvatel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A91ECD4A-599C-40EF-8570-DF982A20C5D2}"/>
              </a:ext>
            </a:extLst>
          </p:cNvPr>
          <p:cNvSpPr txBox="1"/>
          <p:nvPr/>
        </p:nvSpPr>
        <p:spPr>
          <a:xfrm>
            <a:off x="1078369" y="4110409"/>
            <a:ext cx="44311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ventivní</a:t>
            </a:r>
          </a:p>
        </p:txBody>
      </p:sp>
      <p:sp>
        <p:nvSpPr>
          <p:cNvPr id="30" name="TextovéPole 10">
            <a:extLst>
              <a:ext uri="{FF2B5EF4-FFF2-40B4-BE49-F238E27FC236}">
                <a16:creationId xmlns:a16="http://schemas.microsoft.com/office/drawing/2014/main" id="{FB7F6A7B-671C-4552-8925-72AED740EDC5}"/>
              </a:ext>
            </a:extLst>
          </p:cNvPr>
          <p:cNvSpPr txBox="1"/>
          <p:nvPr/>
        </p:nvSpPr>
        <p:spPr>
          <a:xfrm rot="16200000">
            <a:off x="-366921" y="5117121"/>
            <a:ext cx="183829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testů na 100 000 obyvatel</a:t>
            </a: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A91ECD4A-599C-40EF-8570-DF982A20C5D2}"/>
              </a:ext>
            </a:extLst>
          </p:cNvPr>
          <p:cNvSpPr txBox="1"/>
          <p:nvPr/>
        </p:nvSpPr>
        <p:spPr>
          <a:xfrm>
            <a:off x="1207026" y="861003"/>
            <a:ext cx="44311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kované - diagnostické</a:t>
            </a:r>
          </a:p>
        </p:txBody>
      </p:sp>
      <p:sp>
        <p:nvSpPr>
          <p:cNvPr id="32" name="TextovéPole 10">
            <a:extLst>
              <a:ext uri="{FF2B5EF4-FFF2-40B4-BE49-F238E27FC236}">
                <a16:creationId xmlns:a16="http://schemas.microsoft.com/office/drawing/2014/main" id="{FB7F6A7B-671C-4552-8925-72AED740EDC5}"/>
              </a:ext>
            </a:extLst>
          </p:cNvPr>
          <p:cNvSpPr txBox="1"/>
          <p:nvPr/>
        </p:nvSpPr>
        <p:spPr>
          <a:xfrm rot="16200000">
            <a:off x="-238264" y="2005758"/>
            <a:ext cx="183829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testů na 100 000 obyvatel</a:t>
            </a:r>
          </a:p>
        </p:txBody>
      </p:sp>
    </p:spTree>
    <p:extLst>
      <p:ext uri="{BB962C8B-B14F-4D97-AF65-F5344CB8AC3E}">
        <p14:creationId xmlns:p14="http://schemas.microsoft.com/office/powerpoint/2010/main" val="24460980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Zaoblený obdélník 15"/>
          <p:cNvSpPr/>
          <p:nvPr/>
        </p:nvSpPr>
        <p:spPr>
          <a:xfrm>
            <a:off x="556550" y="144314"/>
            <a:ext cx="11354939" cy="695135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tuace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celé populaci ČR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AAE0361F-E506-4977-82C5-F24A5FA62772}"/>
              </a:ext>
            </a:extLst>
          </p:cNvPr>
          <p:cNvSpPr txBox="1"/>
          <p:nvPr/>
        </p:nvSpPr>
        <p:spPr>
          <a:xfrm rot="16200000">
            <a:off x="-577054" y="4305215"/>
            <a:ext cx="19444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osob s COVID-19</a:t>
            </a:r>
          </a:p>
        </p:txBody>
      </p:sp>
      <p:sp>
        <p:nvSpPr>
          <p:cNvPr id="27" name="TextBox 6">
            <a:extLst>
              <a:ext uri="{FF2B5EF4-FFF2-40B4-BE49-F238E27FC236}">
                <a16:creationId xmlns:a16="http://schemas.microsoft.com/office/drawing/2014/main" id="{9973232A-9684-4FC9-AE77-1386A1121E76}"/>
              </a:ext>
            </a:extLst>
          </p:cNvPr>
          <p:cNvSpPr txBox="1"/>
          <p:nvPr/>
        </p:nvSpPr>
        <p:spPr>
          <a:xfrm>
            <a:off x="1189723" y="2910561"/>
            <a:ext cx="6493122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6B627DB5-E7BE-4826-83AC-838BCA5E7E3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54624" y="6405326"/>
            <a:ext cx="9823528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1100" dirty="0"/>
              <a:t>* Výpočet funkcí </a:t>
            </a:r>
            <a:r>
              <a:rPr lang="cs-CZ" sz="1100" dirty="0" err="1"/>
              <a:t>estimate</a:t>
            </a:r>
            <a:r>
              <a:rPr lang="cs-CZ" sz="1100" dirty="0"/>
              <a:t> R v software R (balíček </a:t>
            </a:r>
            <a:r>
              <a:rPr lang="cs-CZ" sz="1100" dirty="0" err="1"/>
              <a:t>EpiEstim</a:t>
            </a:r>
            <a:r>
              <a:rPr lang="cs-CZ" sz="1100" dirty="0"/>
              <a:t>), 7denní časové okno, předpoklad rozdělení sériového intervalu: průměr 4.8, SD 2.3 (</a:t>
            </a:r>
            <a:r>
              <a:rPr lang="cs-CZ" sz="1100" dirty="0" err="1"/>
              <a:t>Nishiura</a:t>
            </a:r>
            <a:r>
              <a:rPr lang="cs-CZ" sz="1100" dirty="0"/>
              <a:t> et al., 2020), odhad uveden jako medián a 2,5%–97,5% kvantily.</a:t>
            </a:r>
          </a:p>
        </p:txBody>
      </p:sp>
      <p:grpSp>
        <p:nvGrpSpPr>
          <p:cNvPr id="28" name="Skupina 27"/>
          <p:cNvGrpSpPr/>
          <p:nvPr/>
        </p:nvGrpSpPr>
        <p:grpSpPr>
          <a:xfrm>
            <a:off x="2060846" y="3317541"/>
            <a:ext cx="1591404" cy="307777"/>
            <a:chOff x="9718781" y="1744597"/>
            <a:chExt cx="1591404" cy="307779"/>
          </a:xfrm>
        </p:grpSpPr>
        <p:sp>
          <p:nvSpPr>
            <p:cNvPr id="29" name="TextovéPole 28"/>
            <p:cNvSpPr txBox="1"/>
            <p:nvPr/>
          </p:nvSpPr>
          <p:spPr>
            <a:xfrm>
              <a:off x="9718781" y="1837224"/>
              <a:ext cx="108000" cy="108001"/>
            </a:xfrm>
            <a:prstGeom prst="rect">
              <a:avLst/>
            </a:prstGeom>
            <a:solidFill>
              <a:srgbClr val="C00000"/>
            </a:solidFill>
          </p:spPr>
          <p:txBody>
            <a:bodyPr wrap="square" rtlCol="0">
              <a:spAutoFit/>
            </a:bodyPr>
            <a:lstStyle/>
            <a:p>
              <a:endParaRPr lang="cs-CZ" dirty="0"/>
            </a:p>
          </p:txBody>
        </p:sp>
        <p:sp>
          <p:nvSpPr>
            <p:cNvPr id="30" name="TextovéPole 29"/>
            <p:cNvSpPr txBox="1"/>
            <p:nvPr/>
          </p:nvSpPr>
          <p:spPr>
            <a:xfrm>
              <a:off x="9820823" y="1744597"/>
              <a:ext cx="1489362" cy="3077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1400" b="1" dirty="0"/>
                <a:t>Incidence</a:t>
              </a:r>
            </a:p>
          </p:txBody>
        </p:sp>
      </p:grp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50799D38-217C-4919-BC0B-8935B9826571}"/>
              </a:ext>
            </a:extLst>
          </p:cNvPr>
          <p:cNvCxnSpPr>
            <a:cxnSpLocks/>
          </p:cNvCxnSpPr>
          <p:nvPr/>
        </p:nvCxnSpPr>
        <p:spPr>
          <a:xfrm flipH="1">
            <a:off x="1442911" y="1778193"/>
            <a:ext cx="2100389" cy="118929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30">
            <a:extLst>
              <a:ext uri="{FF2B5EF4-FFF2-40B4-BE49-F238E27FC236}">
                <a16:creationId xmlns:a16="http://schemas.microsoft.com/office/drawing/2014/main" id="{8F229281-C9AA-48B9-A3C0-B2FD523C78CB}"/>
              </a:ext>
            </a:extLst>
          </p:cNvPr>
          <p:cNvCxnSpPr>
            <a:cxnSpLocks/>
          </p:cNvCxnSpPr>
          <p:nvPr/>
        </p:nvCxnSpPr>
        <p:spPr>
          <a:xfrm>
            <a:off x="8750340" y="1720861"/>
            <a:ext cx="2317351" cy="124662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" name="Chart 4">
            <a:extLst>
              <a:ext uri="{FF2B5EF4-FFF2-40B4-BE49-F238E27FC236}">
                <a16:creationId xmlns:a16="http://schemas.microsoft.com/office/drawing/2014/main" id="{5669529C-2BEF-4D3F-B465-B1D1833F5E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93086148"/>
              </p:ext>
            </p:extLst>
          </p:nvPr>
        </p:nvGraphicFramePr>
        <p:xfrm>
          <a:off x="418529" y="2591454"/>
          <a:ext cx="11354940" cy="3796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3" name="Tabulka 2">
            <a:extLst>
              <a:ext uri="{FF2B5EF4-FFF2-40B4-BE49-F238E27FC236}">
                <a16:creationId xmlns:a16="http://schemas.microsoft.com/office/drawing/2014/main" id="{2B0897B4-A0F6-4AE8-9AB0-55E03BB7D1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020216"/>
              </p:ext>
            </p:extLst>
          </p:nvPr>
        </p:nvGraphicFramePr>
        <p:xfrm>
          <a:off x="2003154" y="1052628"/>
          <a:ext cx="8128000" cy="12192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128000">
                  <a:extLst>
                    <a:ext uri="{9D8B030D-6E8A-4147-A177-3AD203B41FA5}">
                      <a16:colId xmlns:a16="http://schemas.microsoft.com/office/drawing/2014/main" val="2948460810"/>
                    </a:ext>
                  </a:extLst>
                </a:gridCol>
              </a:tblGrid>
              <a:tr h="20808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3200" b="1" u="sng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Aktuální odhad R pro ČR</a:t>
                      </a:r>
                      <a:endParaRPr lang="cs-CZ" sz="3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33893919"/>
                  </a:ext>
                </a:extLst>
              </a:tr>
              <a:tr h="20808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3600"/>
                        <a:t>0,82 (95% IS 0,81–0,83)*</a:t>
                      </a:r>
                      <a:endParaRPr lang="cs-CZ" sz="3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917686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724843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>
                <a:latin typeface="+mn-lt"/>
              </a:rPr>
              <a:t>Predikce ve čtyřech scénářích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399F9D63-C378-4018-B97A-C6FF1B38BBF2}"/>
              </a:ext>
            </a:extLst>
          </p:cNvPr>
          <p:cNvSpPr txBox="1"/>
          <p:nvPr/>
        </p:nvSpPr>
        <p:spPr>
          <a:xfrm>
            <a:off x="173293" y="1222719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9B8FCCD-AB42-495D-8900-E0EDAF4D3695}"/>
              </a:ext>
            </a:extLst>
          </p:cNvPr>
          <p:cNvSpPr txBox="1"/>
          <p:nvPr/>
        </p:nvSpPr>
        <p:spPr>
          <a:xfrm>
            <a:off x="4792918" y="843166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ý scénář, R = 1,15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915432FB-02C6-4A48-823E-AAFFD38F04CD}"/>
              </a:ext>
            </a:extLst>
          </p:cNvPr>
          <p:cNvSpPr txBox="1"/>
          <p:nvPr/>
        </p:nvSpPr>
        <p:spPr>
          <a:xfrm>
            <a:off x="4792918" y="2152071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zpomalení (R = 0,80)</a:t>
            </a:r>
          </a:p>
        </p:txBody>
      </p:sp>
      <p:cxnSp>
        <p:nvCxnSpPr>
          <p:cNvPr id="10" name="Přímá spojnice se šipkou 9">
            <a:extLst>
              <a:ext uri="{FF2B5EF4-FFF2-40B4-BE49-F238E27FC236}">
                <a16:creationId xmlns:a16="http://schemas.microsoft.com/office/drawing/2014/main" id="{2FBBF0DE-751C-4A8D-9688-745F518DEA63}"/>
              </a:ext>
            </a:extLst>
          </p:cNvPr>
          <p:cNvCxnSpPr/>
          <p:nvPr/>
        </p:nvCxnSpPr>
        <p:spPr>
          <a:xfrm flipV="1">
            <a:off x="4154743" y="1068720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427BD7B2-178E-45A0-B634-921C0C8A629F}"/>
              </a:ext>
            </a:extLst>
          </p:cNvPr>
          <p:cNvCxnSpPr/>
          <p:nvPr/>
        </p:nvCxnSpPr>
        <p:spPr>
          <a:xfrm>
            <a:off x="4154743" y="1707635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Chart 4">
            <a:extLst>
              <a:ext uri="{FF2B5EF4-FFF2-40B4-BE49-F238E27FC236}">
                <a16:creationId xmlns:a16="http://schemas.microsoft.com/office/drawing/2014/main" id="{3E256F39-56D6-4974-B02C-6BB28A4AE57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88044617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TextBox 6">
            <a:extLst>
              <a:ext uri="{FF2B5EF4-FFF2-40B4-BE49-F238E27FC236}">
                <a16:creationId xmlns:a16="http://schemas.microsoft.com/office/drawing/2014/main" id="{69CEF138-18A8-4271-9FEF-402DB7C25B86}"/>
              </a:ext>
            </a:extLst>
          </p:cNvPr>
          <p:cNvSpPr txBox="1"/>
          <p:nvPr/>
        </p:nvSpPr>
        <p:spPr>
          <a:xfrm>
            <a:off x="556549" y="2471492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1672572" y="3144329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5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3640751" y="275507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3937932" y="2703263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1377827" y="3299364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1672572" y="3369549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377827" y="3522671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095375A6-BA75-44A5-A84A-36A5A097F6F7}"/>
              </a:ext>
            </a:extLst>
          </p:cNvPr>
          <p:cNvSpPr txBox="1"/>
          <p:nvPr/>
        </p:nvSpPr>
        <p:spPr>
          <a:xfrm>
            <a:off x="1672572" y="3594769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</a:t>
            </a:r>
          </a:p>
        </p:txBody>
      </p:sp>
      <p:cxnSp>
        <p:nvCxnSpPr>
          <p:cNvPr id="23" name="Přímá spojnice 22">
            <a:extLst>
              <a:ext uri="{FF2B5EF4-FFF2-40B4-BE49-F238E27FC236}">
                <a16:creationId xmlns:a16="http://schemas.microsoft.com/office/drawing/2014/main" id="{AB76497E-F494-41CE-B6CE-8CEE02B36A8F}"/>
              </a:ext>
            </a:extLst>
          </p:cNvPr>
          <p:cNvCxnSpPr>
            <a:cxnSpLocks/>
          </p:cNvCxnSpPr>
          <p:nvPr/>
        </p:nvCxnSpPr>
        <p:spPr>
          <a:xfrm>
            <a:off x="1377827" y="3745978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1377827" y="3969284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Vlajka CR">
            <a:extLst>
              <a:ext uri="{FF2B5EF4-FFF2-40B4-BE49-F238E27FC236}">
                <a16:creationId xmlns:a16="http://schemas.microsoft.com/office/drawing/2014/main" id="{00F626A7-0D8A-4996-979E-ADFDA1B08C79}"/>
              </a:ext>
            </a:extLst>
          </p:cNvPr>
          <p:cNvPicPr>
            <a:picLocks noChangeArrowheads="1"/>
          </p:cNvPicPr>
          <p:nvPr>
            <p:custDataLst>
              <p:tags r:id="rId1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1609490" y="631706"/>
            <a:ext cx="526893" cy="3450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8" name="TextovéPole 27">
            <a:extLst>
              <a:ext uri="{FF2B5EF4-FFF2-40B4-BE49-F238E27FC236}">
                <a16:creationId xmlns:a16="http://schemas.microsoft.com/office/drawing/2014/main" id="{66CCB7E5-B893-4905-A783-B3A264BEFB90}"/>
              </a:ext>
            </a:extLst>
          </p:cNvPr>
          <p:cNvSpPr txBox="1"/>
          <p:nvPr/>
        </p:nvSpPr>
        <p:spPr>
          <a:xfrm>
            <a:off x="10230875" y="2687003"/>
            <a:ext cx="1544387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4. 4. 2021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lvl="0" algn="r">
              <a:defRPr/>
            </a:pPr>
            <a:r>
              <a:rPr lang="cs-CZ" sz="1200" dirty="0">
                <a:solidFill>
                  <a:srgbClr val="FF0000"/>
                </a:solidFill>
                <a:latin typeface="Calibri" panose="020F0502020204030204"/>
              </a:rPr>
              <a:t>27 725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ch</a:t>
            </a:r>
          </a:p>
          <a:p>
            <a:pPr lvl="0" algn="r">
              <a:defRPr/>
            </a:pPr>
            <a:r>
              <a:rPr lang="cs-CZ" sz="1200" dirty="0">
                <a:solidFill>
                  <a:srgbClr val="FF9900"/>
                </a:solidFill>
                <a:latin typeface="Calibri" panose="020F0502020204030204"/>
              </a:rPr>
              <a:t>22 112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ch</a:t>
            </a:r>
          </a:p>
          <a:p>
            <a:pPr lvl="0" algn="r">
              <a:defRPr/>
            </a:pPr>
            <a:r>
              <a:rPr lang="cs-CZ" sz="1200" dirty="0">
                <a:solidFill>
                  <a:srgbClr val="0070C0"/>
                </a:solidFill>
                <a:latin typeface="Calibri" panose="020F0502020204030204"/>
              </a:rPr>
              <a:t>8 072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ch</a:t>
            </a:r>
          </a:p>
          <a:p>
            <a:pPr lvl="0" algn="r">
              <a:defRPr/>
            </a:pPr>
            <a:r>
              <a:rPr lang="cs-CZ" sz="1200" dirty="0">
                <a:solidFill>
                  <a:srgbClr val="00B050"/>
                </a:solidFill>
                <a:latin typeface="Calibri" panose="020F0502020204030204"/>
              </a:rPr>
              <a:t>4 524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ch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1664715" y="3819988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8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12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3. 2021)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018C3454-3ACD-4639-ABC1-54A9227CB2EF}"/>
              </a:ext>
            </a:extLst>
          </p:cNvPr>
          <p:cNvSpPr txBox="1"/>
          <p:nvPr/>
        </p:nvSpPr>
        <p:spPr>
          <a:xfrm>
            <a:off x="4765210" y="1828543"/>
            <a:ext cx="53982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/>
              <a:t>dopad</a:t>
            </a:r>
            <a:r>
              <a:rPr lang="en-US" sz="1400" dirty="0"/>
              <a:t> </a:t>
            </a:r>
            <a:r>
              <a:rPr lang="en-US" sz="1400" dirty="0" err="1"/>
              <a:t>opat</a:t>
            </a:r>
            <a:r>
              <a:rPr lang="cs-CZ" sz="1400" dirty="0" err="1"/>
              <a:t>ření</a:t>
            </a:r>
            <a:r>
              <a:rPr lang="cs-CZ" sz="1400" dirty="0"/>
              <a:t> z 1. 3. od druhého březnového týdne</a:t>
            </a:r>
            <a:r>
              <a:rPr lang="en-US" sz="1400" dirty="0"/>
              <a:t> </a:t>
            </a:r>
            <a:endParaRPr lang="cs-CZ" sz="1400" dirty="0"/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32A18E1-478B-49B3-B19F-744DF92D3F6C}"/>
              </a:ext>
            </a:extLst>
          </p:cNvPr>
          <p:cNvSpPr txBox="1"/>
          <p:nvPr/>
        </p:nvSpPr>
        <p:spPr>
          <a:xfrm>
            <a:off x="8465187" y="3244873"/>
            <a:ext cx="1544387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15. 3. 2021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lvl="0" algn="r">
              <a:defRPr/>
            </a:pPr>
            <a:r>
              <a:rPr lang="cs-CZ" sz="1200" dirty="0">
                <a:solidFill>
                  <a:srgbClr val="FF0000"/>
                </a:solidFill>
                <a:latin typeface="Calibri" panose="020F0502020204030204"/>
              </a:rPr>
              <a:t>16 549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ch</a:t>
            </a:r>
          </a:p>
          <a:p>
            <a:pPr lvl="0" algn="r">
              <a:defRPr/>
            </a:pPr>
            <a:r>
              <a:rPr lang="cs-CZ" sz="1200" dirty="0">
                <a:solidFill>
                  <a:srgbClr val="FF9900"/>
                </a:solidFill>
                <a:latin typeface="Calibri" panose="020F0502020204030204"/>
              </a:rPr>
              <a:t>15 501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ch</a:t>
            </a:r>
          </a:p>
          <a:p>
            <a:pPr lvl="0" algn="r">
              <a:defRPr/>
            </a:pPr>
            <a:r>
              <a:rPr lang="cs-CZ" sz="1200" dirty="0">
                <a:solidFill>
                  <a:srgbClr val="0070C0"/>
                </a:solidFill>
                <a:latin typeface="Calibri" panose="020F0502020204030204"/>
              </a:rPr>
              <a:t>11 620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ch</a:t>
            </a:r>
          </a:p>
          <a:p>
            <a:pPr lvl="0" algn="r">
              <a:defRPr/>
            </a:pPr>
            <a:r>
              <a:rPr lang="cs-CZ" sz="1200" dirty="0">
                <a:solidFill>
                  <a:srgbClr val="00B050"/>
                </a:solidFill>
                <a:latin typeface="Calibri" panose="020F0502020204030204"/>
              </a:rPr>
              <a:t>9 869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ch</a:t>
            </a:r>
          </a:p>
        </p:txBody>
      </p:sp>
    </p:spTree>
    <p:extLst>
      <p:ext uri="{BB962C8B-B14F-4D97-AF65-F5344CB8AC3E}">
        <p14:creationId xmlns:p14="http://schemas.microsoft.com/office/powerpoint/2010/main" val="32486605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/>
              <a:t>Index rizika: kalkulace k aktuálnímu datu</a:t>
            </a:r>
            <a:endParaRPr lang="cs-CZ" sz="2400" dirty="0">
              <a:latin typeface="+mj-lt"/>
            </a:endParaRPr>
          </a:p>
        </p:txBody>
      </p:sp>
      <p:graphicFrame>
        <p:nvGraphicFramePr>
          <p:cNvPr id="15" name="Table 23">
            <a:extLst>
              <a:ext uri="{FF2B5EF4-FFF2-40B4-BE49-F238E27FC236}">
                <a16:creationId xmlns:a16="http://schemas.microsoft.com/office/drawing/2014/main" id="{4CB31FC2-931C-41E8-8D9E-F4818B3F5A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2999430"/>
              </p:ext>
            </p:extLst>
          </p:nvPr>
        </p:nvGraphicFramePr>
        <p:xfrm>
          <a:off x="237598" y="776376"/>
          <a:ext cx="11248089" cy="5716195"/>
        </p:xfrm>
        <a:graphic>
          <a:graphicData uri="http://schemas.openxmlformats.org/drawingml/2006/table">
            <a:tbl>
              <a:tblPr/>
              <a:tblGrid>
                <a:gridCol w="294540">
                  <a:extLst>
                    <a:ext uri="{9D8B030D-6E8A-4147-A177-3AD203B41FA5}">
                      <a16:colId xmlns:a16="http://schemas.microsoft.com/office/drawing/2014/main" val="3352151573"/>
                    </a:ext>
                  </a:extLst>
                </a:gridCol>
                <a:gridCol w="2357803">
                  <a:extLst>
                    <a:ext uri="{9D8B030D-6E8A-4147-A177-3AD203B41FA5}">
                      <a16:colId xmlns:a16="http://schemas.microsoft.com/office/drawing/2014/main" val="1734464425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233877263"/>
                    </a:ext>
                  </a:extLst>
                </a:gridCol>
                <a:gridCol w="543464">
                  <a:extLst>
                    <a:ext uri="{9D8B030D-6E8A-4147-A177-3AD203B41FA5}">
                      <a16:colId xmlns:a16="http://schemas.microsoft.com/office/drawing/2014/main" val="1052808362"/>
                    </a:ext>
                  </a:extLst>
                </a:gridCol>
                <a:gridCol w="381716">
                  <a:extLst>
                    <a:ext uri="{9D8B030D-6E8A-4147-A177-3AD203B41FA5}">
                      <a16:colId xmlns:a16="http://schemas.microsoft.com/office/drawing/2014/main" val="1216052434"/>
                    </a:ext>
                  </a:extLst>
                </a:gridCol>
                <a:gridCol w="670882">
                  <a:extLst>
                    <a:ext uri="{9D8B030D-6E8A-4147-A177-3AD203B41FA5}">
                      <a16:colId xmlns:a16="http://schemas.microsoft.com/office/drawing/2014/main" val="4133665023"/>
                    </a:ext>
                  </a:extLst>
                </a:gridCol>
                <a:gridCol w="523307">
                  <a:extLst>
                    <a:ext uri="{9D8B030D-6E8A-4147-A177-3AD203B41FA5}">
                      <a16:colId xmlns:a16="http://schemas.microsoft.com/office/drawing/2014/main" val="2458361984"/>
                    </a:ext>
                  </a:extLst>
                </a:gridCol>
                <a:gridCol w="523307">
                  <a:extLst>
                    <a:ext uri="{9D8B030D-6E8A-4147-A177-3AD203B41FA5}">
                      <a16:colId xmlns:a16="http://schemas.microsoft.com/office/drawing/2014/main" val="2658354462"/>
                    </a:ext>
                  </a:extLst>
                </a:gridCol>
                <a:gridCol w="523307">
                  <a:extLst>
                    <a:ext uri="{9D8B030D-6E8A-4147-A177-3AD203B41FA5}">
                      <a16:colId xmlns:a16="http://schemas.microsoft.com/office/drawing/2014/main" val="1900083421"/>
                    </a:ext>
                  </a:extLst>
                </a:gridCol>
                <a:gridCol w="523307">
                  <a:extLst>
                    <a:ext uri="{9D8B030D-6E8A-4147-A177-3AD203B41FA5}">
                      <a16:colId xmlns:a16="http://schemas.microsoft.com/office/drawing/2014/main" val="2867862823"/>
                    </a:ext>
                  </a:extLst>
                </a:gridCol>
                <a:gridCol w="523307">
                  <a:extLst>
                    <a:ext uri="{9D8B030D-6E8A-4147-A177-3AD203B41FA5}">
                      <a16:colId xmlns:a16="http://schemas.microsoft.com/office/drawing/2014/main" val="1383239253"/>
                    </a:ext>
                  </a:extLst>
                </a:gridCol>
                <a:gridCol w="523307">
                  <a:extLst>
                    <a:ext uri="{9D8B030D-6E8A-4147-A177-3AD203B41FA5}">
                      <a16:colId xmlns:a16="http://schemas.microsoft.com/office/drawing/2014/main" val="717788668"/>
                    </a:ext>
                  </a:extLst>
                </a:gridCol>
                <a:gridCol w="523307">
                  <a:extLst>
                    <a:ext uri="{9D8B030D-6E8A-4147-A177-3AD203B41FA5}">
                      <a16:colId xmlns:a16="http://schemas.microsoft.com/office/drawing/2014/main" val="2695508517"/>
                    </a:ext>
                  </a:extLst>
                </a:gridCol>
                <a:gridCol w="523307">
                  <a:extLst>
                    <a:ext uri="{9D8B030D-6E8A-4147-A177-3AD203B41FA5}">
                      <a16:colId xmlns:a16="http://schemas.microsoft.com/office/drawing/2014/main" val="589216377"/>
                    </a:ext>
                  </a:extLst>
                </a:gridCol>
                <a:gridCol w="523307">
                  <a:extLst>
                    <a:ext uri="{9D8B030D-6E8A-4147-A177-3AD203B41FA5}">
                      <a16:colId xmlns:a16="http://schemas.microsoft.com/office/drawing/2014/main" val="2455921478"/>
                    </a:ext>
                  </a:extLst>
                </a:gridCol>
                <a:gridCol w="523307">
                  <a:extLst>
                    <a:ext uri="{9D8B030D-6E8A-4147-A177-3AD203B41FA5}">
                      <a16:colId xmlns:a16="http://schemas.microsoft.com/office/drawing/2014/main" val="1143235689"/>
                    </a:ext>
                  </a:extLst>
                </a:gridCol>
                <a:gridCol w="523307">
                  <a:extLst>
                    <a:ext uri="{9D8B030D-6E8A-4147-A177-3AD203B41FA5}">
                      <a16:colId xmlns:a16="http://schemas.microsoft.com/office/drawing/2014/main" val="2009914365"/>
                    </a:ext>
                  </a:extLst>
                </a:gridCol>
                <a:gridCol w="523307">
                  <a:extLst>
                    <a:ext uri="{9D8B030D-6E8A-4147-A177-3AD203B41FA5}">
                      <a16:colId xmlns:a16="http://schemas.microsoft.com/office/drawing/2014/main" val="434736835"/>
                    </a:ext>
                  </a:extLst>
                </a:gridCol>
              </a:tblGrid>
              <a:tr h="362309">
                <a:tc gridSpan="7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8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Výpočet indexu rizika pro ČR k 28.3.2021</a:t>
                      </a:r>
                      <a:endParaRPr kumimoji="0" lang="cs-CZ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7620" marR="7620" marT="762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Výpočet indexu rizika pro ČR k </a:t>
                      </a:r>
                      <a:r>
                        <a:rPr lang="cs-CZ" sz="1000" b="1" dirty="0">
                          <a:solidFill>
                            <a:srgbClr val="000000"/>
                          </a:solidFill>
                          <a:latin typeface="Arial" panose="020B0604020202020204"/>
                        </a:rPr>
                        <a:t>7. 3</a:t>
                      </a:r>
                      <a:r>
                        <a:rPr kumimoji="0" lang="cs-CZ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. 202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67835822"/>
                  </a:ext>
                </a:extLst>
              </a:tr>
              <a:tr h="177866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79909260"/>
                  </a:ext>
                </a:extLst>
              </a:tr>
              <a:tr h="364831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buClr>
                          <a:srgbClr val="000000"/>
                        </a:buClr>
                        <a:buSzPts val="1000"/>
                        <a:buFont typeface="Arial" panose="020B0604020202020204" pitchFamily="34" charset="0"/>
                        <a:buNone/>
                      </a:pPr>
                      <a:r>
                        <a:rPr lang="pl-PL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denní počty pozitivních na COVID-19 
(na 100 000 obyvatel)</a:t>
                      </a:r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83,0</a:t>
                      </a:r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ody</a:t>
                      </a:r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</a:t>
                      </a:r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8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Index pro ČR od 1.10.2020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51473415"/>
                  </a:ext>
                </a:extLst>
              </a:tr>
              <a:tr h="187349">
                <a:tc>
                  <a:txBody>
                    <a:bodyPr/>
                    <a:lstStyle/>
                    <a:p>
                      <a:pPr algn="l" fontAlgn="b"/>
                      <a:r>
                        <a:rPr lang="cs-CZ" sz="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55143367"/>
                  </a:ext>
                </a:extLst>
              </a:tr>
              <a:tr h="364831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denní počty pozitivních na COVID-19
(na 100 000 obyvatel ve věku od 65 let)</a:t>
                      </a:r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4,3</a:t>
                      </a:r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ody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20171928"/>
                  </a:ext>
                </a:extLst>
              </a:tr>
              <a:tr h="198278">
                <a:tc>
                  <a:txBody>
                    <a:bodyPr/>
                    <a:lstStyle/>
                    <a:p>
                      <a:pPr algn="l" fontAlgn="b"/>
                      <a:r>
                        <a:rPr lang="cs-CZ" sz="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1570682"/>
                  </a:ext>
                </a:extLst>
              </a:tr>
              <a:tr h="293451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oste</a:t>
                      </a:r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</a:t>
                      </a:r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ody</a:t>
                      </a:r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870399"/>
                  </a:ext>
                </a:extLst>
              </a:tr>
              <a:tr h="198278">
                <a:tc>
                  <a:txBody>
                    <a:bodyPr/>
                    <a:lstStyle/>
                    <a:p>
                      <a:pPr algn="l" fontAlgn="b"/>
                      <a:r>
                        <a:rPr lang="cs-CZ" sz="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22970429"/>
                  </a:ext>
                </a:extLst>
              </a:tr>
              <a:tr h="364831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jednodušený výpočet
reprodukčního čísla</a:t>
                      </a:r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0</a:t>
                      </a:r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ody</a:t>
                      </a:r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95513671"/>
                  </a:ext>
                </a:extLst>
              </a:tr>
              <a:tr h="198278">
                <a:tc>
                  <a:txBody>
                    <a:bodyPr/>
                    <a:lstStyle/>
                    <a:p>
                      <a:pPr algn="l" fontAlgn="b"/>
                      <a:r>
                        <a:rPr lang="cs-CZ" sz="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05353240"/>
                  </a:ext>
                </a:extLst>
              </a:tr>
              <a:tr h="364831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cs-CZ" sz="10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díl hospitalizovaných nezachycených
v komunitě, za posledních 14 dní</a:t>
                      </a:r>
                      <a:endParaRPr lang="cs-CZ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,4</a:t>
                      </a:r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ody</a:t>
                      </a:r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</a:t>
                      </a:r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11893493"/>
                  </a:ext>
                </a:extLst>
              </a:tr>
              <a:tr h="198278">
                <a:tc>
                  <a:txBody>
                    <a:bodyPr/>
                    <a:lstStyle/>
                    <a:p>
                      <a:pPr algn="l" fontAlgn="b"/>
                      <a:r>
                        <a:rPr lang="cs-CZ" sz="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57124554"/>
                  </a:ext>
                </a:extLst>
              </a:tr>
              <a:tr h="293451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oste</a:t>
                      </a:r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</a:t>
                      </a:r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ody</a:t>
                      </a:r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94939827"/>
                  </a:ext>
                </a:extLst>
              </a:tr>
              <a:tr h="198278">
                <a:tc>
                  <a:txBody>
                    <a:bodyPr/>
                    <a:lstStyle/>
                    <a:p>
                      <a:pPr algn="l" fontAlgn="b"/>
                      <a:r>
                        <a:rPr lang="cs-CZ" sz="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5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49508576"/>
                  </a:ext>
                </a:extLst>
              </a:tr>
              <a:tr h="364831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elkem</a:t>
                      </a:r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07937749"/>
                  </a:ext>
                </a:extLst>
              </a:tr>
              <a:tr h="198278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97054973"/>
                  </a:ext>
                </a:extLst>
              </a:tr>
              <a:tr h="198278"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30088418"/>
                  </a:ext>
                </a:extLst>
              </a:tr>
              <a:tr h="198278"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66331101"/>
                  </a:ext>
                </a:extLst>
              </a:tr>
              <a:tr h="198278"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75870106"/>
                  </a:ext>
                </a:extLst>
              </a:tr>
              <a:tr h="198278"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atum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 3.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 3.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BFBF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 3.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BFBF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 3.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BFBF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 3.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BFBF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 3.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BFBF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 3.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BFBF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54883537"/>
                  </a:ext>
                </a:extLst>
              </a:tr>
              <a:tr h="198278"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 vMerge="1"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 vMerge="1"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 vMerge="1"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 vMerge="1"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 vMerge="1"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 vMerge="1"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 vMerge="1"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 vMerge="1"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6073641"/>
                  </a:ext>
                </a:extLst>
              </a:tr>
              <a:tr h="198278"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dex rizika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48697208"/>
                  </a:ext>
                </a:extLst>
              </a:tr>
              <a:tr h="198278"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 vMerge="1"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 vMerge="1"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 vMerge="1"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 vMerge="1"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 vMerge="1"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 vMerge="1"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 vMerge="1"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 vMerge="1"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 vMerge="1"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 vMerge="1"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 vMerge="1"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 vMerge="1"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 vMerge="1"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 vMerge="1"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12058816"/>
                  </a:ext>
                </a:extLst>
              </a:tr>
            </a:tbl>
          </a:graphicData>
        </a:graphic>
      </p:graphicFrame>
      <p:sp>
        <p:nvSpPr>
          <p:cNvPr id="34" name="TextovéPole 33">
            <a:extLst>
              <a:ext uri="{FF2B5EF4-FFF2-40B4-BE49-F238E27FC236}">
                <a16:creationId xmlns:a16="http://schemas.microsoft.com/office/drawing/2014/main" id="{3E7ADCA5-8F58-4EEC-BCC2-35297FEA0E5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7925187" y="6528966"/>
            <a:ext cx="42291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cs-CZ" sz="1400" i="1" dirty="0"/>
              <a:t>Pozn.: Od 6. 1. je Index rizika počítán dle nové metodiky.</a:t>
            </a:r>
          </a:p>
        </p:txBody>
      </p:sp>
      <p:graphicFrame>
        <p:nvGraphicFramePr>
          <p:cNvPr id="14" name="Chart 4">
            <a:extLst>
              <a:ext uri="{FF2B5EF4-FFF2-40B4-BE49-F238E27FC236}">
                <a16:creationId xmlns:a16="http://schemas.microsoft.com/office/drawing/2014/main" id="{9C170D2B-547C-44D4-8BA8-F5D20179880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619391"/>
              </p:ext>
            </p:extLst>
          </p:nvPr>
        </p:nvGraphicFramePr>
        <p:xfrm>
          <a:off x="6096000" y="1563348"/>
          <a:ext cx="5653177" cy="32148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763458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36164" cy="576000"/>
          </a:xfrm>
        </p:spPr>
        <p:txBody>
          <a:bodyPr/>
          <a:lstStyle/>
          <a:p>
            <a:r>
              <a:rPr lang="cs-CZ" dirty="0"/>
              <a:t>Vybrané ukazatele – srovnání regionů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A91ECD4A-599C-40EF-8570-DF982A20C5D2}"/>
              </a:ext>
            </a:extLst>
          </p:cNvPr>
          <p:cNvSpPr txBox="1"/>
          <p:nvPr/>
        </p:nvSpPr>
        <p:spPr>
          <a:xfrm>
            <a:off x="6827568" y="638274"/>
            <a:ext cx="46095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sz="1400" b="1" dirty="0">
                <a:solidFill>
                  <a:srgbClr val="000000"/>
                </a:solidFill>
                <a:latin typeface="Arial" panose="020B0604020202020204"/>
              </a:rPr>
              <a:t>14denní počty pozitivních na COVID-19 ve věku 65+ </a:t>
            </a:r>
          </a:p>
          <a:p>
            <a:pPr algn="ctr">
              <a:defRPr/>
            </a:pPr>
            <a:r>
              <a:rPr lang="cs-CZ" sz="1400" b="1" dirty="0">
                <a:solidFill>
                  <a:srgbClr val="000000"/>
                </a:solidFill>
                <a:latin typeface="Arial" panose="020B0604020202020204"/>
              </a:rPr>
              <a:t>(na 100 000 obyvatel 65+)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A91ECD4A-599C-40EF-8570-DF982A20C5D2}"/>
              </a:ext>
            </a:extLst>
          </p:cNvPr>
          <p:cNvSpPr txBox="1"/>
          <p:nvPr/>
        </p:nvSpPr>
        <p:spPr>
          <a:xfrm>
            <a:off x="7005978" y="3523934"/>
            <a:ext cx="443110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sz="1400" b="1" dirty="0">
                <a:solidFill>
                  <a:srgbClr val="000000"/>
                </a:solidFill>
                <a:latin typeface="Arial" panose="020B0604020202020204"/>
              </a:rPr>
              <a:t>Podíl hospitalizovaných nezachycených</a:t>
            </a:r>
          </a:p>
          <a:p>
            <a:pPr algn="ctr">
              <a:defRPr/>
            </a:pPr>
            <a:r>
              <a:rPr lang="cs-CZ" sz="1400" b="1" dirty="0">
                <a:solidFill>
                  <a:srgbClr val="000000"/>
                </a:solidFill>
                <a:latin typeface="Arial" panose="020B0604020202020204"/>
              </a:rPr>
              <a:t>v komunitě, za posledních 14 dní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A91ECD4A-599C-40EF-8570-DF982A20C5D2}"/>
              </a:ext>
            </a:extLst>
          </p:cNvPr>
          <p:cNvSpPr txBox="1"/>
          <p:nvPr/>
        </p:nvSpPr>
        <p:spPr>
          <a:xfrm>
            <a:off x="1108505" y="3657029"/>
            <a:ext cx="44311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sz="1400" b="1" dirty="0">
                <a:solidFill>
                  <a:srgbClr val="000000"/>
                </a:solidFill>
                <a:latin typeface="Arial" panose="020B0604020202020204"/>
              </a:rPr>
              <a:t>Zjednodušené reprodukční číslo*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A91ECD4A-599C-40EF-8570-DF982A20C5D2}"/>
              </a:ext>
            </a:extLst>
          </p:cNvPr>
          <p:cNvSpPr txBox="1"/>
          <p:nvPr/>
        </p:nvSpPr>
        <p:spPr>
          <a:xfrm>
            <a:off x="1198233" y="638274"/>
            <a:ext cx="443110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pl-PL" sz="1400" b="1" dirty="0">
                <a:solidFill>
                  <a:srgbClr val="000000"/>
                </a:solidFill>
                <a:latin typeface="Arial" panose="020B0604020202020204"/>
              </a:rPr>
              <a:t>14denní počty pozitivních na COVID-19 </a:t>
            </a:r>
          </a:p>
          <a:p>
            <a:pPr algn="ctr">
              <a:defRPr/>
            </a:pPr>
            <a:r>
              <a:rPr lang="pl-PL" sz="1400" b="1" dirty="0">
                <a:solidFill>
                  <a:srgbClr val="000000"/>
                </a:solidFill>
                <a:latin typeface="Arial" panose="020B0604020202020204"/>
              </a:rPr>
              <a:t>(na 100 000 obyvatel)</a:t>
            </a:r>
          </a:p>
        </p:txBody>
      </p:sp>
      <p:sp>
        <p:nvSpPr>
          <p:cNvPr id="35" name="Rectangle 8">
            <a:extLst>
              <a:ext uri="{FF2B5EF4-FFF2-40B4-BE49-F238E27FC236}">
                <a16:creationId xmlns:a16="http://schemas.microsoft.com/office/drawing/2014/main" id="{D547B5C3-9C9D-4646-9142-57CBE7A9C7A2}"/>
              </a:ext>
            </a:extLst>
          </p:cNvPr>
          <p:cNvSpPr/>
          <p:nvPr/>
        </p:nvSpPr>
        <p:spPr>
          <a:xfrm>
            <a:off x="230690" y="6398293"/>
            <a:ext cx="1196130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dstavuje podíl sedmidenních oken, vzájemně posunutých o užívanou průměrnou délku sériového intervalu (5 dní). </a:t>
            </a:r>
            <a:r>
              <a:rPr kumimoji="0" lang="de-DE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N DER HEIDEN, Matthias; HAMOUDA, </a:t>
            </a:r>
            <a:r>
              <a:rPr kumimoji="0" lang="de-DE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samah</a:t>
            </a:r>
            <a:r>
              <a:rPr kumimoji="0" lang="de-DE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 Schätzung der aktuellen Entwicklung der SARS-CoV-2-Epidemie in Deutschland–</a:t>
            </a:r>
            <a:r>
              <a:rPr kumimoji="0" lang="de-DE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owcasting</a:t>
            </a:r>
            <a:r>
              <a:rPr kumimoji="0" lang="de-DE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 </a:t>
            </a:r>
            <a:r>
              <a:rPr kumimoji="0" lang="de-DE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pid</a:t>
            </a:r>
            <a:r>
              <a:rPr kumimoji="0" lang="de-DE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Bull, 2020, 17: 10-15. </a:t>
            </a: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Chart 25">
            <a:extLst>
              <a:ext uri="{FF2B5EF4-FFF2-40B4-BE49-F238E27FC236}">
                <a16:creationId xmlns:a16="http://schemas.microsoft.com/office/drawing/2014/main" id="{9E443E8B-5A61-43CD-B5EB-DB412E27F190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2131756"/>
              </p:ext>
            </p:extLst>
          </p:nvPr>
        </p:nvGraphicFramePr>
        <p:xfrm>
          <a:off x="6032508" y="1018800"/>
          <a:ext cx="5644883" cy="25005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5" name="Chart 26">
            <a:extLst>
              <a:ext uri="{FF2B5EF4-FFF2-40B4-BE49-F238E27FC236}">
                <a16:creationId xmlns:a16="http://schemas.microsoft.com/office/drawing/2014/main" id="{16F6E232-846A-403C-8148-EA66E1E754EF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123023"/>
              </p:ext>
            </p:extLst>
          </p:nvPr>
        </p:nvGraphicFramePr>
        <p:xfrm>
          <a:off x="6076800" y="3877200"/>
          <a:ext cx="5644883" cy="25005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6" name="Chart 27">
            <a:extLst>
              <a:ext uri="{FF2B5EF4-FFF2-40B4-BE49-F238E27FC236}">
                <a16:creationId xmlns:a16="http://schemas.microsoft.com/office/drawing/2014/main" id="{A6F36DB7-5F77-42FD-9C6A-1FC13D5D3E53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99071446"/>
              </p:ext>
            </p:extLst>
          </p:nvPr>
        </p:nvGraphicFramePr>
        <p:xfrm>
          <a:off x="500400" y="3877200"/>
          <a:ext cx="5644883" cy="25005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7" name="Chart 28">
            <a:extLst>
              <a:ext uri="{FF2B5EF4-FFF2-40B4-BE49-F238E27FC236}">
                <a16:creationId xmlns:a16="http://schemas.microsoft.com/office/drawing/2014/main" id="{72532355-F2FD-45A1-BC03-25AEA9752BE3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64364197"/>
              </p:ext>
            </p:extLst>
          </p:nvPr>
        </p:nvGraphicFramePr>
        <p:xfrm>
          <a:off x="381739" y="1018800"/>
          <a:ext cx="5644883" cy="25005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35157442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/>
          <p:cNvSpPr txBox="1"/>
          <p:nvPr/>
        </p:nvSpPr>
        <p:spPr>
          <a:xfrm>
            <a:off x="504825" y="647700"/>
            <a:ext cx="1106805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ávající problém: vysoký podíl i počet nákaz mezi seniory, zásah zranitelných skupin a sociálních zařízení </a:t>
            </a:r>
            <a:endParaRPr kumimoji="0" lang="cs-CZ" sz="2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Šipka dolů 1"/>
          <p:cNvSpPr/>
          <p:nvPr/>
        </p:nvSpPr>
        <p:spPr>
          <a:xfrm>
            <a:off x="5534023" y="1902970"/>
            <a:ext cx="1095375" cy="111442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2" name="Tabulka 3">
            <a:extLst>
              <a:ext uri="{FF2B5EF4-FFF2-40B4-BE49-F238E27FC236}">
                <a16:creationId xmlns:a16="http://schemas.microsoft.com/office/drawing/2014/main" id="{89585B18-2338-408D-B1D5-422080D068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6485002"/>
              </p:ext>
            </p:extLst>
          </p:nvPr>
        </p:nvGraphicFramePr>
        <p:xfrm>
          <a:off x="327495" y="3195447"/>
          <a:ext cx="10413056" cy="2560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963032">
                  <a:extLst>
                    <a:ext uri="{9D8B030D-6E8A-4147-A177-3AD203B41FA5}">
                      <a16:colId xmlns:a16="http://schemas.microsoft.com/office/drawing/2014/main" val="653187899"/>
                    </a:ext>
                  </a:extLst>
                </a:gridCol>
                <a:gridCol w="2225012">
                  <a:extLst>
                    <a:ext uri="{9D8B030D-6E8A-4147-A177-3AD203B41FA5}">
                      <a16:colId xmlns:a16="http://schemas.microsoft.com/office/drawing/2014/main" val="3486415745"/>
                    </a:ext>
                  </a:extLst>
                </a:gridCol>
                <a:gridCol w="2225012">
                  <a:extLst>
                    <a:ext uri="{9D8B030D-6E8A-4147-A177-3AD203B41FA5}">
                      <a16:colId xmlns:a16="http://schemas.microsoft.com/office/drawing/2014/main" val="663344530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pPr marL="914400" marR="0" lvl="2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3600" b="1">
                          <a:solidFill>
                            <a:srgbClr val="C00000"/>
                          </a:solidFill>
                        </a:rPr>
                        <a:t>Nově diagnostikovaní ve věku 65+, 75+</a:t>
                      </a:r>
                      <a:endParaRPr lang="cs-CZ" sz="3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3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3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8616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cs-CZ" sz="3600" b="1">
                          <a:solidFill>
                            <a:srgbClr val="C00000"/>
                          </a:solidFill>
                        </a:rPr>
                        <a:t>Za uplynulé 3 dny:</a:t>
                      </a:r>
                      <a:endParaRPr lang="cs-CZ" sz="3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 111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 200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293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cs-CZ" sz="3600" b="1">
                          <a:solidFill>
                            <a:srgbClr val="C00000"/>
                          </a:solidFill>
                        </a:rPr>
                        <a:t>Za uplynulých 7 dní:</a:t>
                      </a:r>
                      <a:endParaRPr lang="cs-CZ" sz="3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7 706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 965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8340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cs-CZ" sz="3600" b="1">
                          <a:solidFill>
                            <a:srgbClr val="C00000"/>
                          </a:solidFill>
                        </a:rPr>
                        <a:t>Za uplynulých 14 dní:</a:t>
                      </a:r>
                      <a:endParaRPr lang="cs-CZ" sz="3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7 572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6 773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7417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99556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hart 4">
            <a:extLst>
              <a:ext uri="{FF2B5EF4-FFF2-40B4-BE49-F238E27FC236}">
                <a16:creationId xmlns:a16="http://schemas.microsoft.com/office/drawing/2014/main" id="{08BC59A9-FEBF-48E7-BE01-130C7422F84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9174462"/>
              </p:ext>
            </p:extLst>
          </p:nvPr>
        </p:nvGraphicFramePr>
        <p:xfrm>
          <a:off x="95247" y="2824205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3" name="TextovéPole 22"/>
          <p:cNvSpPr txBox="1"/>
          <p:nvPr/>
        </p:nvSpPr>
        <p:spPr>
          <a:xfrm>
            <a:off x="420368" y="157231"/>
            <a:ext cx="113442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800" b="1" dirty="0"/>
              <a:t>Stávající vývoj – počty nově diagnostikovaných seniorů ve věku 65+ </a:t>
            </a:r>
            <a:endParaRPr lang="cs-CZ" sz="2800" b="1" dirty="0">
              <a:solidFill>
                <a:srgbClr val="C00000"/>
              </a:solidFill>
            </a:endParaRPr>
          </a:p>
        </p:txBody>
      </p:sp>
      <p:sp>
        <p:nvSpPr>
          <p:cNvPr id="15" name="TextovéPole 14"/>
          <p:cNvSpPr txBox="1"/>
          <p:nvPr/>
        </p:nvSpPr>
        <p:spPr>
          <a:xfrm>
            <a:off x="1005192" y="3058089"/>
            <a:ext cx="2362704" cy="83099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cs-CZ" sz="2400" b="1" dirty="0">
                <a:solidFill>
                  <a:schemeClr val="bg1"/>
                </a:solidFill>
              </a:rPr>
              <a:t>Populace seniorů 65+ let</a:t>
            </a:r>
          </a:p>
        </p:txBody>
      </p:sp>
      <p:graphicFrame>
        <p:nvGraphicFramePr>
          <p:cNvPr id="12" name="Table 1">
            <a:extLst>
              <a:ext uri="{FF2B5EF4-FFF2-40B4-BE49-F238E27FC236}">
                <a16:creationId xmlns:a16="http://schemas.microsoft.com/office/drawing/2014/main" id="{1F81531B-CDF7-4B43-8339-58D618EAD97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7342391"/>
              </p:ext>
            </p:extLst>
          </p:nvPr>
        </p:nvGraphicFramePr>
        <p:xfrm>
          <a:off x="310535" y="1638024"/>
          <a:ext cx="11599497" cy="1012402"/>
        </p:xfrm>
        <a:graphic>
          <a:graphicData uri="http://schemas.openxmlformats.org/drawingml/2006/table">
            <a:tbl>
              <a:tblPr/>
              <a:tblGrid>
                <a:gridCol w="1159497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94383206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1925740230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3497972796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396824373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1613593397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626922952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58257818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334679689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413064103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948284207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184949847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663735865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85402199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334824460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3530538202"/>
                    </a:ext>
                  </a:extLst>
                </a:gridCol>
              </a:tblGrid>
              <a:tr h="257876">
                <a:tc>
                  <a:txBody>
                    <a:bodyPr/>
                    <a:lstStyle/>
                    <a:p>
                      <a:pPr algn="ctr" rtl="0" fontAlgn="ctr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známo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5787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96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483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3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7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483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3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</a:tbl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DA5D9885-2301-4A75-B1A7-61E131B6F294}"/>
              </a:ext>
            </a:extLst>
          </p:cNvPr>
          <p:cNvSpPr txBox="1"/>
          <p:nvPr/>
        </p:nvSpPr>
        <p:spPr>
          <a:xfrm>
            <a:off x="308970" y="1125723"/>
            <a:ext cx="79489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ty nově diagnostikovaných ve věku 65+ za poslední 3 dny v regionech</a:t>
            </a:r>
          </a:p>
        </p:txBody>
      </p:sp>
    </p:spTree>
    <p:extLst>
      <p:ext uri="{BB962C8B-B14F-4D97-AF65-F5344CB8AC3E}">
        <p14:creationId xmlns:p14="http://schemas.microsoft.com/office/powerpoint/2010/main" val="38869050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hart 4">
            <a:extLst>
              <a:ext uri="{FF2B5EF4-FFF2-40B4-BE49-F238E27FC236}">
                <a16:creationId xmlns:a16="http://schemas.microsoft.com/office/drawing/2014/main" id="{E9B74E55-0A8D-4F0F-B9CB-C2A125BCE97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74638259"/>
              </p:ext>
            </p:extLst>
          </p:nvPr>
        </p:nvGraphicFramePr>
        <p:xfrm>
          <a:off x="95247" y="2824205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3" name="TextovéPole 22"/>
          <p:cNvSpPr txBox="1"/>
          <p:nvPr>
            <p:custDataLst>
              <p:tags r:id="rId1"/>
            </p:custDataLst>
          </p:nvPr>
        </p:nvSpPr>
        <p:spPr>
          <a:xfrm>
            <a:off x="420368" y="157231"/>
            <a:ext cx="113442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800" b="1" dirty="0"/>
              <a:t>Stávající vývoj – počty nově diagnostikovaných seniorů ve věku 75+ </a:t>
            </a:r>
            <a:endParaRPr lang="cs-CZ" sz="2800" b="1" dirty="0">
              <a:solidFill>
                <a:srgbClr val="C00000"/>
              </a:solidFill>
            </a:endParaRPr>
          </a:p>
        </p:txBody>
      </p:sp>
      <p:sp>
        <p:nvSpPr>
          <p:cNvPr id="15" name="TextovéPole 14"/>
          <p:cNvSpPr txBox="1"/>
          <p:nvPr/>
        </p:nvSpPr>
        <p:spPr>
          <a:xfrm>
            <a:off x="1005192" y="2981765"/>
            <a:ext cx="2362704" cy="83099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cs-CZ" sz="2400" b="1" dirty="0">
                <a:solidFill>
                  <a:schemeClr val="bg1"/>
                </a:solidFill>
              </a:rPr>
              <a:t>Populace seniorů 75+ let</a:t>
            </a:r>
          </a:p>
        </p:txBody>
      </p:sp>
      <p:graphicFrame>
        <p:nvGraphicFramePr>
          <p:cNvPr id="12" name="Table 8">
            <a:extLst>
              <a:ext uri="{FF2B5EF4-FFF2-40B4-BE49-F238E27FC236}">
                <a16:creationId xmlns:a16="http://schemas.microsoft.com/office/drawing/2014/main" id="{C504FF28-6C54-48A1-8585-0645D6132A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0447395"/>
              </p:ext>
            </p:extLst>
          </p:nvPr>
        </p:nvGraphicFramePr>
        <p:xfrm>
          <a:off x="310535" y="1638024"/>
          <a:ext cx="11599497" cy="1012402"/>
        </p:xfrm>
        <a:graphic>
          <a:graphicData uri="http://schemas.openxmlformats.org/drawingml/2006/table">
            <a:tbl>
              <a:tblPr/>
              <a:tblGrid>
                <a:gridCol w="1159497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94383206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1925740230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3497972796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396824373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1613593397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626922952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58257818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334679689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413064103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948284207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184949847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663735865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854021991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334824460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3530538202"/>
                    </a:ext>
                  </a:extLst>
                </a:gridCol>
              </a:tblGrid>
              <a:tr h="257876">
                <a:tc>
                  <a:txBody>
                    <a:bodyPr/>
                    <a:lstStyle/>
                    <a:p>
                      <a:pPr algn="ctr" rtl="0" fontAlgn="ctr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známo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5787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4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483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3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483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3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</a:tbl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EE91A2F2-75A5-4698-9BEE-C61E6DAD6E73}"/>
              </a:ext>
            </a:extLst>
          </p:cNvPr>
          <p:cNvSpPr txBox="1"/>
          <p:nvPr/>
        </p:nvSpPr>
        <p:spPr>
          <a:xfrm>
            <a:off x="308970" y="1125723"/>
            <a:ext cx="79489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ty nově diagnostikovaných ve věku 75+ za poslední 3 dny v regionech</a:t>
            </a:r>
          </a:p>
        </p:txBody>
      </p:sp>
    </p:spTree>
    <p:extLst>
      <p:ext uri="{BB962C8B-B14F-4D97-AF65-F5344CB8AC3E}">
        <p14:creationId xmlns:p14="http://schemas.microsoft.com/office/powerpoint/2010/main" val="10358673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3931234"/>
            <a:ext cx="11344275" cy="1974265"/>
          </a:xfrm>
        </p:spPr>
        <p:txBody>
          <a:bodyPr>
            <a:normAutofit/>
          </a:bodyPr>
          <a:lstStyle/>
          <a:p>
            <a:r>
              <a:rPr lang="cs-CZ" sz="5400" b="1" dirty="0"/>
              <a:t>Nově pozitivně diagnostikovaní </a:t>
            </a:r>
          </a:p>
          <a:p>
            <a:r>
              <a:rPr lang="cs-CZ" sz="5400" b="1" dirty="0"/>
              <a:t>– rozbor testů vedoucích k diagnóze</a:t>
            </a:r>
            <a:endParaRPr lang="cs-CZ" sz="3900" b="1" i="1" dirty="0"/>
          </a:p>
        </p:txBody>
      </p:sp>
    </p:spTree>
    <p:extLst>
      <p:ext uri="{BB962C8B-B14F-4D97-AF65-F5344CB8AC3E}">
        <p14:creationId xmlns:p14="http://schemas.microsoft.com/office/powerpoint/2010/main" val="39910760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systému Office">
  <a:themeElements>
    <a:clrScheme name="Vlastní 2">
      <a:dk1>
        <a:srgbClr val="5F5F5F"/>
      </a:dk1>
      <a:lt1>
        <a:sysClr val="window" lastClr="FFFFFF"/>
      </a:lt1>
      <a:dk2>
        <a:srgbClr val="84848E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OVID barvy">
    <a:dk1>
      <a:srgbClr val="000000"/>
    </a:dk1>
    <a:lt1>
      <a:srgbClr val="FFFFFF"/>
    </a:lt1>
    <a:dk2>
      <a:srgbClr val="D31145"/>
    </a:dk2>
    <a:lt2>
      <a:srgbClr val="FFFFFF"/>
    </a:lt2>
    <a:accent1>
      <a:srgbClr val="D31145"/>
    </a:accent1>
    <a:accent2>
      <a:srgbClr val="305983"/>
    </a:accent2>
    <a:accent3>
      <a:srgbClr val="00CD61"/>
    </a:accent3>
    <a:accent4>
      <a:srgbClr val="4010B7"/>
    </a:accent4>
    <a:accent5>
      <a:srgbClr val="E8EAEA"/>
    </a:accent5>
    <a:accent6>
      <a:srgbClr val="690923"/>
    </a:accent6>
    <a:hlink>
      <a:srgbClr val="FFFFFF"/>
    </a:hlink>
    <a:folHlink>
      <a:srgbClr val="FF0000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COVID barvy">
    <a:dk1>
      <a:srgbClr val="000000"/>
    </a:dk1>
    <a:lt1>
      <a:srgbClr val="FFFFFF"/>
    </a:lt1>
    <a:dk2>
      <a:srgbClr val="D31145"/>
    </a:dk2>
    <a:lt2>
      <a:srgbClr val="FFFFFF"/>
    </a:lt2>
    <a:accent1>
      <a:srgbClr val="D31145"/>
    </a:accent1>
    <a:accent2>
      <a:srgbClr val="305983"/>
    </a:accent2>
    <a:accent3>
      <a:srgbClr val="00CD61"/>
    </a:accent3>
    <a:accent4>
      <a:srgbClr val="4010B7"/>
    </a:accent4>
    <a:accent5>
      <a:srgbClr val="E8EAEA"/>
    </a:accent5>
    <a:accent6>
      <a:srgbClr val="690923"/>
    </a:accent6>
    <a:hlink>
      <a:srgbClr val="FFFFFF"/>
    </a:hlink>
    <a:folHlink>
      <a:srgbClr val="FF0000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COVID barvy">
    <a:dk1>
      <a:srgbClr val="000000"/>
    </a:dk1>
    <a:lt1>
      <a:srgbClr val="FFFFFF"/>
    </a:lt1>
    <a:dk2>
      <a:srgbClr val="D31145"/>
    </a:dk2>
    <a:lt2>
      <a:srgbClr val="FFFFFF"/>
    </a:lt2>
    <a:accent1>
      <a:srgbClr val="D31145"/>
    </a:accent1>
    <a:accent2>
      <a:srgbClr val="305983"/>
    </a:accent2>
    <a:accent3>
      <a:srgbClr val="00CD61"/>
    </a:accent3>
    <a:accent4>
      <a:srgbClr val="4010B7"/>
    </a:accent4>
    <a:accent5>
      <a:srgbClr val="E8EAEA"/>
    </a:accent5>
    <a:accent6>
      <a:srgbClr val="690923"/>
    </a:accent6>
    <a:hlink>
      <a:srgbClr val="FFFFFF"/>
    </a:hlink>
    <a:folHlink>
      <a:srgbClr val="FF0000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COVID barvy">
    <a:dk1>
      <a:srgbClr val="000000"/>
    </a:dk1>
    <a:lt1>
      <a:srgbClr val="FFFFFF"/>
    </a:lt1>
    <a:dk2>
      <a:srgbClr val="D31145"/>
    </a:dk2>
    <a:lt2>
      <a:srgbClr val="FFFFFF"/>
    </a:lt2>
    <a:accent1>
      <a:srgbClr val="D31145"/>
    </a:accent1>
    <a:accent2>
      <a:srgbClr val="305983"/>
    </a:accent2>
    <a:accent3>
      <a:srgbClr val="00CD61"/>
    </a:accent3>
    <a:accent4>
      <a:srgbClr val="4010B7"/>
    </a:accent4>
    <a:accent5>
      <a:srgbClr val="E8EAEA"/>
    </a:accent5>
    <a:accent6>
      <a:srgbClr val="690923"/>
    </a:accent6>
    <a:hlink>
      <a:srgbClr val="FFFFFF"/>
    </a:hlink>
    <a:folHlink>
      <a:srgbClr val="FF0000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815</Words>
  <Application>Microsoft Office PowerPoint</Application>
  <PresentationFormat>Širokoúhlá obrazovka</PresentationFormat>
  <Paragraphs>935</Paragraphs>
  <Slides>17</Slides>
  <Notes>8</Notes>
  <HiddenSlides>0</HiddenSlides>
  <MMClips>0</MMClips>
  <ScaleCrop>false</ScaleCrop>
  <HeadingPairs>
    <vt:vector size="6" baseType="variant">
      <vt:variant>
        <vt:lpstr>Použitá písma</vt:lpstr>
      </vt:variant>
      <vt:variant>
        <vt:i4>4</vt:i4>
      </vt:variant>
      <vt:variant>
        <vt:lpstr>Motiv</vt:lpstr>
      </vt:variant>
      <vt:variant>
        <vt:i4>3</vt:i4>
      </vt:variant>
      <vt:variant>
        <vt:lpstr>Nadpisy snímků</vt:lpstr>
      </vt:variant>
      <vt:variant>
        <vt:i4>17</vt:i4>
      </vt:variant>
    </vt:vector>
  </HeadingPairs>
  <TitlesOfParts>
    <vt:vector size="24" baseType="lpstr">
      <vt:lpstr>Arial</vt:lpstr>
      <vt:lpstr>Arial (Základní text)</vt:lpstr>
      <vt:lpstr>Calibri</vt:lpstr>
      <vt:lpstr>Calibri Light</vt:lpstr>
      <vt:lpstr>Motiv Office</vt:lpstr>
      <vt:lpstr>1_Motiv systému Office</vt:lpstr>
      <vt:lpstr>1_Motiv Office</vt:lpstr>
      <vt:lpstr>Datová a informační základna  pro management pandemie COVID-19</vt:lpstr>
      <vt:lpstr>Prezentace aplikace PowerPoint</vt:lpstr>
      <vt:lpstr>Predikce ve čtyřech scénářích</vt:lpstr>
      <vt:lpstr>Index rizika: kalkulace k aktuálnímu datu</vt:lpstr>
      <vt:lpstr>Vybrané ukazatele – srovnání regionů</vt:lpstr>
      <vt:lpstr>Prezentace aplikace PowerPoint</vt:lpstr>
      <vt:lpstr>Prezentace aplikace PowerPoint</vt:lpstr>
      <vt:lpstr>Prezentace aplikace PowerPoint</vt:lpstr>
      <vt:lpstr>Datová a informační základna  pro management pandemie COVID-19</vt:lpstr>
      <vt:lpstr>Typologie pozitivních případů</vt:lpstr>
      <vt:lpstr>Podíl pozitivních testů: diagnostické indikace </vt:lpstr>
      <vt:lpstr>Podíl pozitivních testů: epidemiologické indikace</vt:lpstr>
      <vt:lpstr>Podíl pozitivních testů: preventivní testy a komunitní testování</vt:lpstr>
      <vt:lpstr>Datová a informační základna  pro management pandemie COVID-19</vt:lpstr>
      <vt:lpstr>Vývoj objemu testů ve srovnání posledních tří dnů </vt:lpstr>
      <vt:lpstr>Vývoj objemu testů ve srovnání posledních tří dnů </vt:lpstr>
      <vt:lpstr>Počty testů dle indikace a účelu: 21. 3.–27. 3.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1-02-04T08:39:59Z</dcterms:created>
  <dcterms:modified xsi:type="dcterms:W3CDTF">2021-03-28T05:46:52Z</dcterms:modified>
</cp:coreProperties>
</file>